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tags/tag3.xml" ContentType="application/vnd.openxmlformats-officedocument.presentationml.tags+xml"/>
  <Override PartName="/ppt/theme/themeOverride4.xml" ContentType="application/vnd.openxmlformats-officedocument.themeOverride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heme/themeOverride6.xml" ContentType="application/vnd.openxmlformats-officedocument.themeOverride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ags/tag6.xml" ContentType="application/vnd.openxmlformats-officedocument.presentationml.tags+xml"/>
  <Override PartName="/ppt/theme/themeOverride9.xml" ContentType="application/vnd.openxmlformats-officedocument.themeOverride+xml"/>
  <Override PartName="/ppt/tags/tag7.xml" ContentType="application/vnd.openxmlformats-officedocument.presentationml.tags+xml"/>
  <Override PartName="/ppt/theme/themeOverride10.xml" ContentType="application/vnd.openxmlformats-officedocument.themeOverride+xml"/>
  <Override PartName="/ppt/tags/tag8.xml" ContentType="application/vnd.openxmlformats-officedocument.presentationml.tags+xml"/>
  <Override PartName="/ppt/theme/themeOverride11.xml" ContentType="application/vnd.openxmlformats-officedocument.themeOverrid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tags/tag27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notesSlides/notesSlide16.xml" ContentType="application/vnd.openxmlformats-officedocument.presentationml.notesSlide+xml"/>
  <Override PartName="/ppt/tags/tag29.xml" ContentType="application/vnd.openxmlformats-officedocument.presentationml.tags+xml"/>
  <Override PartName="/ppt/notesSlides/notesSlide17.xml" ContentType="application/vnd.openxmlformats-officedocument.presentationml.notesSlide+xml"/>
  <Override PartName="/ppt/tags/tag30.xml" ContentType="application/vnd.openxmlformats-officedocument.presentationml.tags+xml"/>
  <Override PartName="/ppt/notesSlides/notesSlide18.xml" ContentType="application/vnd.openxmlformats-officedocument.presentationml.notesSlide+xml"/>
  <Override PartName="/ppt/tags/tag31.xml" ContentType="application/vnd.openxmlformats-officedocument.presentationml.tags+xml"/>
  <Override PartName="/ppt/notesSlides/notesSlide19.xml" ContentType="application/vnd.openxmlformats-officedocument.presentationml.notesSlide+xml"/>
  <Override PartName="/ppt/tags/tag32.xml" ContentType="application/vnd.openxmlformats-officedocument.presentationml.tags+xml"/>
  <Override PartName="/ppt/notesSlides/notesSlide20.xml" ContentType="application/vnd.openxmlformats-officedocument.presentationml.notesSlide+xml"/>
  <Override PartName="/ppt/tags/tag33.xml" ContentType="application/vnd.openxmlformats-officedocument.presentationml.tags+xml"/>
  <Override PartName="/ppt/notesSlides/notesSlide21.xml" ContentType="application/vnd.openxmlformats-officedocument.presentationml.notesSlide+xml"/>
  <Override PartName="/ppt/tags/tag34.xml" ContentType="application/vnd.openxmlformats-officedocument.presentationml.tags+xml"/>
  <Override PartName="/ppt/notesSlides/notesSlide22.xml" ContentType="application/vnd.openxmlformats-officedocument.presentationml.notesSlide+xml"/>
  <Override PartName="/ppt/tags/tag35.xml" ContentType="application/vnd.openxmlformats-officedocument.presentationml.tags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  <p:sldMasterId id="2147483720" r:id="rId2"/>
    <p:sldMasterId id="2147483732" r:id="rId3"/>
    <p:sldMasterId id="2147483729" r:id="rId4"/>
    <p:sldMasterId id="2147483736" r:id="rId5"/>
    <p:sldMasterId id="2147483742" r:id="rId6"/>
    <p:sldMasterId id="2147483747" r:id="rId7"/>
  </p:sldMasterIdLst>
  <p:notesMasterIdLst>
    <p:notesMasterId r:id="rId31"/>
  </p:notesMasterIdLst>
  <p:handoutMasterIdLst>
    <p:handoutMasterId r:id="rId32"/>
  </p:handoutMasterIdLst>
  <p:sldIdLst>
    <p:sldId id="406" r:id="rId8"/>
    <p:sldId id="429" r:id="rId9"/>
    <p:sldId id="2147377114" r:id="rId10"/>
    <p:sldId id="408" r:id="rId11"/>
    <p:sldId id="2147377055" r:id="rId12"/>
    <p:sldId id="2147377052" r:id="rId13"/>
    <p:sldId id="2147377081" r:id="rId14"/>
    <p:sldId id="2147377085" r:id="rId15"/>
    <p:sldId id="2147377096" r:id="rId16"/>
    <p:sldId id="2147377115" r:id="rId17"/>
    <p:sldId id="2147377116" r:id="rId18"/>
    <p:sldId id="2147377099" r:id="rId19"/>
    <p:sldId id="2147377101" r:id="rId20"/>
    <p:sldId id="2147377100" r:id="rId21"/>
    <p:sldId id="2147377102" r:id="rId22"/>
    <p:sldId id="2147377103" r:id="rId23"/>
    <p:sldId id="2147377104" r:id="rId24"/>
    <p:sldId id="2147377105" r:id="rId25"/>
    <p:sldId id="2147377110" r:id="rId26"/>
    <p:sldId id="2147377111" r:id="rId27"/>
    <p:sldId id="2147377113" r:id="rId28"/>
    <p:sldId id="2147377109" r:id="rId29"/>
    <p:sldId id="2147377092" r:id="rId30"/>
  </p:sldIdLst>
  <p:sldSz cx="12190413" cy="6858000"/>
  <p:notesSz cx="6794500" cy="9906000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9500"/>
    <a:srgbClr val="FF00FF"/>
    <a:srgbClr val="C50022"/>
    <a:srgbClr val="004A96"/>
    <a:srgbClr val="21A0D2"/>
    <a:srgbClr val="00793A"/>
    <a:srgbClr val="65AC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3E5CA5-8323-41A2-B0E4-90143F53BAC3}" v="442" dt="2026-02-27T09:23:17.9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55" autoAdjust="0"/>
    <p:restoredTop sz="90942" autoAdjust="0"/>
  </p:normalViewPr>
  <p:slideViewPr>
    <p:cSldViewPr snapToGrid="0" showGuides="1">
      <p:cViewPr>
        <p:scale>
          <a:sx n="80" d="100"/>
          <a:sy n="80" d="100"/>
        </p:scale>
        <p:origin x="658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077" y="-365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microsoft.com/office/2015/10/relationships/revisionInfo" Target="revisionInfo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o Ballester Delgado" userId="e2602171-21a1-491e-ba82-6f4ad760ee76" providerId="ADAL" clId="{F8E5D392-E5DF-448E-88D4-2A5BD833567D}"/>
    <pc:docChg chg="undo custSel addSld delSld modSld sldOrd">
      <pc:chgData name="Roberto Ballester Delgado" userId="e2602171-21a1-491e-ba82-6f4ad760ee76" providerId="ADAL" clId="{F8E5D392-E5DF-448E-88D4-2A5BD833567D}" dt="2026-02-27T09:23:17.972" v="1423"/>
      <pc:docMkLst>
        <pc:docMk/>
      </pc:docMkLst>
      <pc:sldChg chg="delSp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2010287841" sldId="406"/>
        </pc:sldMkLst>
      </pc:sldChg>
      <pc:sldChg chg="modSp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3444558997" sldId="408"/>
        </pc:sldMkLst>
        <pc:spChg chg="mod">
          <ac:chgData name="Roberto Ballester Delgado" userId="e2602171-21a1-491e-ba82-6f4ad760ee76" providerId="ADAL" clId="{F8E5D392-E5DF-448E-88D4-2A5BD833567D}" dt="2026-02-25T14:28:33.525" v="457" actId="113"/>
          <ac:spMkLst>
            <pc:docMk/>
            <pc:sldMk cId="3444558997" sldId="408"/>
            <ac:spMk id="10" creationId="{00000000-0000-0000-0000-000000000000}"/>
          </ac:spMkLst>
        </pc:spChg>
      </pc:sldChg>
      <pc:sldChg chg="addSp delSp modSp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4055755055" sldId="429"/>
        </pc:sldMkLst>
        <pc:spChg chg="mod">
          <ac:chgData name="Roberto Ballester Delgado" userId="e2602171-21a1-491e-ba82-6f4ad760ee76" providerId="ADAL" clId="{F8E5D392-E5DF-448E-88D4-2A5BD833567D}" dt="2026-02-25T14:25:16.524" v="395" actId="113"/>
          <ac:spMkLst>
            <pc:docMk/>
            <pc:sldMk cId="4055755055" sldId="429"/>
            <ac:spMk id="10" creationId="{00000000-0000-0000-0000-000000000000}"/>
          </ac:spMkLst>
        </pc:spChg>
        <pc:spChg chg="add mod">
          <ac:chgData name="Roberto Ballester Delgado" userId="e2602171-21a1-491e-ba82-6f4ad760ee76" providerId="ADAL" clId="{F8E5D392-E5DF-448E-88D4-2A5BD833567D}" dt="2026-02-25T14:25:39.102" v="398" actId="1076"/>
          <ac:spMkLst>
            <pc:docMk/>
            <pc:sldMk cId="4055755055" sldId="429"/>
            <ac:spMk id="12" creationId="{921551DE-BFBE-1EFE-A5C9-D6FE6F0D4246}"/>
          </ac:spMkLst>
        </pc:spChg>
        <pc:picChg chg="add mod">
          <ac:chgData name="Roberto Ballester Delgado" userId="e2602171-21a1-491e-ba82-6f4ad760ee76" providerId="ADAL" clId="{F8E5D392-E5DF-448E-88D4-2A5BD833567D}" dt="2026-02-25T14:24:02.826" v="219"/>
          <ac:picMkLst>
            <pc:docMk/>
            <pc:sldMk cId="4055755055" sldId="429"/>
            <ac:picMk id="13" creationId="{29CE0C26-5A6A-8F69-ECC5-F573D7350179}"/>
          </ac:picMkLst>
        </pc:picChg>
      </pc:sldChg>
      <pc:sldChg chg="delSp modSp mod modTransition">
        <pc:chgData name="Roberto Ballester Delgado" userId="e2602171-21a1-491e-ba82-6f4ad760ee76" providerId="ADAL" clId="{F8E5D392-E5DF-448E-88D4-2A5BD833567D}" dt="2026-02-27T07:07:27.914" v="1398" actId="1036"/>
        <pc:sldMkLst>
          <pc:docMk/>
          <pc:sldMk cId="1725529554" sldId="2147377052"/>
        </pc:sldMkLst>
        <pc:spChg chg="mod">
          <ac:chgData name="Roberto Ballester Delgado" userId="e2602171-21a1-491e-ba82-6f4ad760ee76" providerId="ADAL" clId="{F8E5D392-E5DF-448E-88D4-2A5BD833567D}" dt="2026-02-25T14:28:45.229" v="459" actId="113"/>
          <ac:spMkLst>
            <pc:docMk/>
            <pc:sldMk cId="1725529554" sldId="2147377052"/>
            <ac:spMk id="10" creationId="{00000000-0000-0000-0000-000000000000}"/>
          </ac:spMkLst>
        </pc:spChg>
        <pc:grpChg chg="del">
          <ac:chgData name="Roberto Ballester Delgado" userId="e2602171-21a1-491e-ba82-6f4ad760ee76" providerId="ADAL" clId="{F8E5D392-E5DF-448E-88D4-2A5BD833567D}" dt="2026-02-27T07:07:19.030" v="1389" actId="478"/>
          <ac:grpSpMkLst>
            <pc:docMk/>
            <pc:sldMk cId="1725529554" sldId="2147377052"/>
            <ac:grpSpMk id="9" creationId="{648AAA20-31EA-3007-EDF7-F78CFDA5341A}"/>
          </ac:grpSpMkLst>
        </pc:grpChg>
        <pc:grpChg chg="mod">
          <ac:chgData name="Roberto Ballester Delgado" userId="e2602171-21a1-491e-ba82-6f4ad760ee76" providerId="ADAL" clId="{F8E5D392-E5DF-448E-88D4-2A5BD833567D}" dt="2026-02-27T07:07:27.914" v="1398" actId="1036"/>
          <ac:grpSpMkLst>
            <pc:docMk/>
            <pc:sldMk cId="1725529554" sldId="2147377052"/>
            <ac:grpSpMk id="17" creationId="{A12523B0-C6C2-1525-E429-1B06AE729218}"/>
          </ac:grpSpMkLst>
        </pc:grpChg>
        <pc:grpChg chg="mod">
          <ac:chgData name="Roberto Ballester Delgado" userId="e2602171-21a1-491e-ba82-6f4ad760ee76" providerId="ADAL" clId="{F8E5D392-E5DF-448E-88D4-2A5BD833567D}" dt="2026-02-27T07:07:27.914" v="1398" actId="1036"/>
          <ac:grpSpMkLst>
            <pc:docMk/>
            <pc:sldMk cId="1725529554" sldId="2147377052"/>
            <ac:grpSpMk id="20" creationId="{0F859ADD-50BA-F30B-27AA-FCAAA1E5FB92}"/>
          </ac:grpSpMkLst>
        </pc:grpChg>
        <pc:grpChg chg="mod">
          <ac:chgData name="Roberto Ballester Delgado" userId="e2602171-21a1-491e-ba82-6f4ad760ee76" providerId="ADAL" clId="{F8E5D392-E5DF-448E-88D4-2A5BD833567D}" dt="2026-02-27T07:07:27.914" v="1398" actId="1036"/>
          <ac:grpSpMkLst>
            <pc:docMk/>
            <pc:sldMk cId="1725529554" sldId="2147377052"/>
            <ac:grpSpMk id="24" creationId="{E9105238-28D8-2C91-CACA-BC3421C64E18}"/>
          </ac:grpSpMkLst>
        </pc:grpChg>
        <pc:grpChg chg="mod">
          <ac:chgData name="Roberto Ballester Delgado" userId="e2602171-21a1-491e-ba82-6f4ad760ee76" providerId="ADAL" clId="{F8E5D392-E5DF-448E-88D4-2A5BD833567D}" dt="2026-02-27T07:07:27.914" v="1398" actId="1036"/>
          <ac:grpSpMkLst>
            <pc:docMk/>
            <pc:sldMk cId="1725529554" sldId="2147377052"/>
            <ac:grpSpMk id="27" creationId="{D8B87989-4A44-3BD1-FF6A-2C3F07E171D8}"/>
          </ac:grpSpMkLst>
        </pc:grpChg>
      </pc:sldChg>
      <pc:sldChg chg="modSp mod modTransition">
        <pc:chgData name="Roberto Ballester Delgado" userId="e2602171-21a1-491e-ba82-6f4ad760ee76" providerId="ADAL" clId="{F8E5D392-E5DF-448E-88D4-2A5BD833567D}" dt="2026-02-26T08:41:17.678" v="1240"/>
        <pc:sldMkLst>
          <pc:docMk/>
          <pc:sldMk cId="2254008288" sldId="2147377055"/>
        </pc:sldMkLst>
        <pc:spChg chg="mod">
          <ac:chgData name="Roberto Ballester Delgado" userId="e2602171-21a1-491e-ba82-6f4ad760ee76" providerId="ADAL" clId="{F8E5D392-E5DF-448E-88D4-2A5BD833567D}" dt="2026-02-26T08:41:17.678" v="1240"/>
          <ac:spMkLst>
            <pc:docMk/>
            <pc:sldMk cId="2254008288" sldId="2147377055"/>
            <ac:spMk id="10" creationId="{00000000-0000-0000-0000-000000000000}"/>
          </ac:spMkLst>
        </pc:spChg>
      </pc:sldChg>
      <pc:sldChg chg="del">
        <pc:chgData name="Roberto Ballester Delgado" userId="e2602171-21a1-491e-ba82-6f4ad760ee76" providerId="ADAL" clId="{F8E5D392-E5DF-448E-88D4-2A5BD833567D}" dt="2026-02-26T08:25:46.727" v="1135" actId="47"/>
        <pc:sldMkLst>
          <pc:docMk/>
          <pc:sldMk cId="369295318" sldId="2147377058"/>
        </pc:sldMkLst>
      </pc:sldChg>
      <pc:sldChg chg="addSp delSp modSp mod ord modTransition delAnim modAnim">
        <pc:chgData name="Roberto Ballester Delgado" userId="e2602171-21a1-491e-ba82-6f4ad760ee76" providerId="ADAL" clId="{F8E5D392-E5DF-448E-88D4-2A5BD833567D}" dt="2026-02-26T08:40:47.588" v="1237"/>
        <pc:sldMkLst>
          <pc:docMk/>
          <pc:sldMk cId="3076613450" sldId="2147377081"/>
        </pc:sldMkLst>
        <pc:spChg chg="mod">
          <ac:chgData name="Roberto Ballester Delgado" userId="e2602171-21a1-491e-ba82-6f4ad760ee76" providerId="ADAL" clId="{F8E5D392-E5DF-448E-88D4-2A5BD833567D}" dt="2026-02-25T14:29:32.407" v="481" actId="20577"/>
          <ac:spMkLst>
            <pc:docMk/>
            <pc:sldMk cId="3076613450" sldId="2147377081"/>
            <ac:spMk id="10" creationId="{00000000-0000-0000-0000-000000000000}"/>
          </ac:spMkLst>
        </pc:spChg>
        <pc:picChg chg="add del">
          <ac:chgData name="Roberto Ballester Delgado" userId="e2602171-21a1-491e-ba82-6f4ad760ee76" providerId="ADAL" clId="{F8E5D392-E5DF-448E-88D4-2A5BD833567D}" dt="2026-02-25T14:08:45.440" v="85" actId="478"/>
          <ac:picMkLst>
            <pc:docMk/>
            <pc:sldMk cId="3076613450" sldId="2147377081"/>
            <ac:picMk id="4" creationId="{D5A4BB6E-9100-FDB5-16F7-916162925BF7}"/>
          </ac:picMkLst>
        </pc:picChg>
        <pc:picChg chg="mod">
          <ac:chgData name="Roberto Ballester Delgado" userId="e2602171-21a1-491e-ba82-6f4ad760ee76" providerId="ADAL" clId="{F8E5D392-E5DF-448E-88D4-2A5BD833567D}" dt="2026-02-25T14:30:05.127" v="490" actId="1076"/>
          <ac:picMkLst>
            <pc:docMk/>
            <pc:sldMk cId="3076613450" sldId="2147377081"/>
            <ac:picMk id="8" creationId="{634F9068-1F3D-85D2-A309-76144F958B9E}"/>
          </ac:picMkLst>
        </pc:picChg>
        <pc:picChg chg="mod">
          <ac:chgData name="Roberto Ballester Delgado" userId="e2602171-21a1-491e-ba82-6f4ad760ee76" providerId="ADAL" clId="{F8E5D392-E5DF-448E-88D4-2A5BD833567D}" dt="2026-02-25T14:09:31.712" v="106" actId="1076"/>
          <ac:picMkLst>
            <pc:docMk/>
            <pc:sldMk cId="3076613450" sldId="2147377081"/>
            <ac:picMk id="9" creationId="{23EF6EFC-F6F0-8518-2ECC-71DB8576DA05}"/>
          </ac:picMkLst>
        </pc:picChg>
        <pc:picChg chg="mod">
          <ac:chgData name="Roberto Ballester Delgado" userId="e2602171-21a1-491e-ba82-6f4ad760ee76" providerId="ADAL" clId="{F8E5D392-E5DF-448E-88D4-2A5BD833567D}" dt="2026-02-25T14:09:28.295" v="105" actId="1076"/>
          <ac:picMkLst>
            <pc:docMk/>
            <pc:sldMk cId="3076613450" sldId="2147377081"/>
            <ac:picMk id="11" creationId="{ABDB2186-41E4-296D-8230-6C735AE94B52}"/>
          </ac:picMkLst>
        </pc:picChg>
        <pc:picChg chg="mod">
          <ac:chgData name="Roberto Ballester Delgado" userId="e2602171-21a1-491e-ba82-6f4ad760ee76" providerId="ADAL" clId="{F8E5D392-E5DF-448E-88D4-2A5BD833567D}" dt="2026-02-25T14:09:24.409" v="104" actId="1076"/>
          <ac:picMkLst>
            <pc:docMk/>
            <pc:sldMk cId="3076613450" sldId="2147377081"/>
            <ac:picMk id="12" creationId="{E37255D0-3F69-F514-2041-20DC7253A019}"/>
          </ac:picMkLst>
        </pc:picChg>
        <pc:picChg chg="add mod">
          <ac:chgData name="Roberto Ballester Delgado" userId="e2602171-21a1-491e-ba82-6f4ad760ee76" providerId="ADAL" clId="{F8E5D392-E5DF-448E-88D4-2A5BD833567D}" dt="2026-02-25T14:30:26.425" v="493" actId="14100"/>
          <ac:picMkLst>
            <pc:docMk/>
            <pc:sldMk cId="3076613450" sldId="2147377081"/>
            <ac:picMk id="25" creationId="{4EEBDCB9-E1AC-ABEC-C03B-F9FEE396EFCB}"/>
          </ac:picMkLst>
        </pc:picChg>
        <pc:picChg chg="add mod">
          <ac:chgData name="Roberto Ballester Delgado" userId="e2602171-21a1-491e-ba82-6f4ad760ee76" providerId="ADAL" clId="{F8E5D392-E5DF-448E-88D4-2A5BD833567D}" dt="2026-02-25T14:30:34.626" v="494" actId="1076"/>
          <ac:picMkLst>
            <pc:docMk/>
            <pc:sldMk cId="3076613450" sldId="2147377081"/>
            <ac:picMk id="26" creationId="{998615F0-B045-8E66-508F-AC3ECFF3D311}"/>
          </ac:picMkLst>
        </pc:picChg>
      </pc:sldChg>
      <pc:sldChg chg="delSp modSp mod modTransition delAnim">
        <pc:chgData name="Roberto Ballester Delgado" userId="e2602171-21a1-491e-ba82-6f4ad760ee76" providerId="ADAL" clId="{F8E5D392-E5DF-448E-88D4-2A5BD833567D}" dt="2026-02-27T07:16:17.812" v="1415" actId="20577"/>
        <pc:sldMkLst>
          <pc:docMk/>
          <pc:sldMk cId="2647749185" sldId="2147377085"/>
        </pc:sldMkLst>
        <pc:spChg chg="mod">
          <ac:chgData name="Roberto Ballester Delgado" userId="e2602171-21a1-491e-ba82-6f4ad760ee76" providerId="ADAL" clId="{F8E5D392-E5DF-448E-88D4-2A5BD833567D}" dt="2026-02-27T07:16:17.812" v="1415" actId="20577"/>
          <ac:spMkLst>
            <pc:docMk/>
            <pc:sldMk cId="2647749185" sldId="2147377085"/>
            <ac:spMk id="10" creationId="{00000000-0000-0000-0000-000000000000}"/>
          </ac:spMkLst>
        </pc:spChg>
        <pc:picChg chg="del">
          <ac:chgData name="Roberto Ballester Delgado" userId="e2602171-21a1-491e-ba82-6f4ad760ee76" providerId="ADAL" clId="{F8E5D392-E5DF-448E-88D4-2A5BD833567D}" dt="2026-02-26T08:38:08.985" v="1223" actId="478"/>
          <ac:picMkLst>
            <pc:docMk/>
            <pc:sldMk cId="2647749185" sldId="2147377085"/>
            <ac:picMk id="31" creationId="{C85DEAEA-F50A-D3D1-7E5E-A6B559F60357}"/>
          </ac:picMkLst>
        </pc:picChg>
      </pc:sldChg>
      <pc:sldChg chg="del">
        <pc:chgData name="Roberto Ballester Delgado" userId="e2602171-21a1-491e-ba82-6f4ad760ee76" providerId="ADAL" clId="{F8E5D392-E5DF-448E-88D4-2A5BD833567D}" dt="2026-02-26T08:25:48.744" v="1136" actId="47"/>
        <pc:sldMkLst>
          <pc:docMk/>
          <pc:sldMk cId="2633069413" sldId="2147377087"/>
        </pc:sldMkLst>
      </pc:sldChg>
      <pc:sldChg chg="delSp modSp del mod delAnim">
        <pc:chgData name="Roberto Ballester Delgado" userId="e2602171-21a1-491e-ba82-6f4ad760ee76" providerId="ADAL" clId="{F8E5D392-E5DF-448E-88D4-2A5BD833567D}" dt="2026-02-26T08:25:45.679" v="1134" actId="47"/>
        <pc:sldMkLst>
          <pc:docMk/>
          <pc:sldMk cId="1064198497" sldId="2147377088"/>
        </pc:sldMkLst>
        <pc:picChg chg="del mod">
          <ac:chgData name="Roberto Ballester Delgado" userId="e2602171-21a1-491e-ba82-6f4ad760ee76" providerId="ADAL" clId="{F8E5D392-E5DF-448E-88D4-2A5BD833567D}" dt="2026-02-26T08:09:45.712" v="786" actId="478"/>
          <ac:picMkLst>
            <pc:docMk/>
            <pc:sldMk cId="1064198497" sldId="2147377088"/>
            <ac:picMk id="9" creationId="{CC883353-1EBC-3A3D-B652-1FFC71C8A22B}"/>
          </ac:picMkLst>
        </pc:picChg>
        <pc:picChg chg="mod">
          <ac:chgData name="Roberto Ballester Delgado" userId="e2602171-21a1-491e-ba82-6f4ad760ee76" providerId="ADAL" clId="{F8E5D392-E5DF-448E-88D4-2A5BD833567D}" dt="2026-02-26T08:09:47.224" v="787" actId="1076"/>
          <ac:picMkLst>
            <pc:docMk/>
            <pc:sldMk cId="1064198497" sldId="2147377088"/>
            <ac:picMk id="11" creationId="{C53DF607-0A75-8E4A-9745-C010651F7991}"/>
          </ac:picMkLst>
        </pc:picChg>
        <pc:picChg chg="mod">
          <ac:chgData name="Roberto Ballester Delgado" userId="e2602171-21a1-491e-ba82-6f4ad760ee76" providerId="ADAL" clId="{F8E5D392-E5DF-448E-88D4-2A5BD833567D}" dt="2026-02-26T08:09:34.212" v="783" actId="1076"/>
          <ac:picMkLst>
            <pc:docMk/>
            <pc:sldMk cId="1064198497" sldId="2147377088"/>
            <ac:picMk id="14" creationId="{8508B9BE-3965-235A-57C1-C908379F9E7C}"/>
          </ac:picMkLst>
        </pc:picChg>
        <pc:picChg chg="mod">
          <ac:chgData name="Roberto Ballester Delgado" userId="e2602171-21a1-491e-ba82-6f4ad760ee76" providerId="ADAL" clId="{F8E5D392-E5DF-448E-88D4-2A5BD833567D}" dt="2026-02-26T08:09:41.245" v="784" actId="1076"/>
          <ac:picMkLst>
            <pc:docMk/>
            <pc:sldMk cId="1064198497" sldId="2147377088"/>
            <ac:picMk id="15" creationId="{3897F2D2-86E8-27E8-4BBE-0A90D439CD48}"/>
          </ac:picMkLst>
        </pc:picChg>
      </pc:sldChg>
      <pc:sldChg chg="del">
        <pc:chgData name="Roberto Ballester Delgado" userId="e2602171-21a1-491e-ba82-6f4ad760ee76" providerId="ADAL" clId="{F8E5D392-E5DF-448E-88D4-2A5BD833567D}" dt="2026-02-26T08:25:49.541" v="1137" actId="47"/>
        <pc:sldMkLst>
          <pc:docMk/>
          <pc:sldMk cId="2664154058" sldId="2147377090"/>
        </pc:sldMkLst>
      </pc:sldChg>
      <pc:sldChg chg="addSp delSp modSp mod modTransition">
        <pc:chgData name="Roberto Ballester Delgado" userId="e2602171-21a1-491e-ba82-6f4ad760ee76" providerId="ADAL" clId="{F8E5D392-E5DF-448E-88D4-2A5BD833567D}" dt="2026-02-26T08:47:59.438" v="1327"/>
        <pc:sldMkLst>
          <pc:docMk/>
          <pc:sldMk cId="1008011012" sldId="2147377092"/>
        </pc:sldMkLst>
        <pc:spChg chg="add mod">
          <ac:chgData name="Roberto Ballester Delgado" userId="e2602171-21a1-491e-ba82-6f4ad760ee76" providerId="ADAL" clId="{F8E5D392-E5DF-448E-88D4-2A5BD833567D}" dt="2026-02-25T15:19:51.966" v="594" actId="1076"/>
          <ac:spMkLst>
            <pc:docMk/>
            <pc:sldMk cId="1008011012" sldId="2147377092"/>
            <ac:spMk id="8" creationId="{DD0AA096-6313-96AA-F56E-F54DCBBE3549}"/>
          </ac:spMkLst>
        </pc:spChg>
        <pc:grpChg chg="add mod">
          <ac:chgData name="Roberto Ballester Delgado" userId="e2602171-21a1-491e-ba82-6f4ad760ee76" providerId="ADAL" clId="{F8E5D392-E5DF-448E-88D4-2A5BD833567D}" dt="2026-02-25T15:20:00.078" v="595" actId="1076"/>
          <ac:grpSpMkLst>
            <pc:docMk/>
            <pc:sldMk cId="1008011012" sldId="2147377092"/>
            <ac:grpSpMk id="11" creationId="{42DB0BCC-D5B1-F7D7-E1F6-A8789F1F29DC}"/>
          </ac:grpSpMkLst>
        </pc:grpChg>
        <pc:picChg chg="add mod modCrop">
          <ac:chgData name="Roberto Ballester Delgado" userId="e2602171-21a1-491e-ba82-6f4ad760ee76" providerId="ADAL" clId="{F8E5D392-E5DF-448E-88D4-2A5BD833567D}" dt="2026-02-25T15:19:45.224" v="591" actId="1076"/>
          <ac:picMkLst>
            <pc:docMk/>
            <pc:sldMk cId="1008011012" sldId="2147377092"/>
            <ac:picMk id="5" creationId="{6C753301-13B8-5E43-B900-5546B439D4E2}"/>
          </ac:picMkLst>
        </pc:picChg>
        <pc:picChg chg="mod">
          <ac:chgData name="Roberto Ballester Delgado" userId="e2602171-21a1-491e-ba82-6f4ad760ee76" providerId="ADAL" clId="{F8E5D392-E5DF-448E-88D4-2A5BD833567D}" dt="2026-02-25T15:18:48.191" v="576"/>
          <ac:picMkLst>
            <pc:docMk/>
            <pc:sldMk cId="1008011012" sldId="2147377092"/>
            <ac:picMk id="12" creationId="{C82A0047-65AA-FD32-0C00-395938226A1A}"/>
          </ac:picMkLst>
        </pc:picChg>
        <pc:picChg chg="mod">
          <ac:chgData name="Roberto Ballester Delgado" userId="e2602171-21a1-491e-ba82-6f4ad760ee76" providerId="ADAL" clId="{F8E5D392-E5DF-448E-88D4-2A5BD833567D}" dt="2026-02-25T15:18:48.191" v="576"/>
          <ac:picMkLst>
            <pc:docMk/>
            <pc:sldMk cId="1008011012" sldId="2147377092"/>
            <ac:picMk id="13" creationId="{53D6ACB4-91EB-D007-6770-5D72AF713E19}"/>
          </ac:picMkLst>
        </pc:picChg>
      </pc:sldChg>
      <pc:sldChg chg="addSp delSp modSp add mod modTransition delAnim modAnim">
        <pc:chgData name="Roberto Ballester Delgado" userId="e2602171-21a1-491e-ba82-6f4ad760ee76" providerId="ADAL" clId="{F8E5D392-E5DF-448E-88D4-2A5BD833567D}" dt="2026-02-26T08:40:47.588" v="1237"/>
        <pc:sldMkLst>
          <pc:docMk/>
          <pc:sldMk cId="995628209" sldId="2147377096"/>
        </pc:sldMkLst>
        <pc:spChg chg="mod">
          <ac:chgData name="Roberto Ballester Delgado" userId="e2602171-21a1-491e-ba82-6f4ad760ee76" providerId="ADAL" clId="{F8E5D392-E5DF-448E-88D4-2A5BD833567D}" dt="2026-02-26T08:09:11.718" v="779" actId="20577"/>
          <ac:spMkLst>
            <pc:docMk/>
            <pc:sldMk cId="995628209" sldId="2147377096"/>
            <ac:spMk id="2" creationId="{B7E49671-8873-B5B2-BA8F-770905CFB5C2}"/>
          </ac:spMkLst>
        </pc:spChg>
        <pc:spChg chg="mod">
          <ac:chgData name="Roberto Ballester Delgado" userId="e2602171-21a1-491e-ba82-6f4ad760ee76" providerId="ADAL" clId="{F8E5D392-E5DF-448E-88D4-2A5BD833567D}" dt="2026-02-26T08:38:13.190" v="1224" actId="113"/>
          <ac:spMkLst>
            <pc:docMk/>
            <pc:sldMk cId="995628209" sldId="2147377096"/>
            <ac:spMk id="10" creationId="{81121CBD-B0C4-1ADD-C8A4-7B003EE4FF5D}"/>
          </ac:spMkLst>
        </pc:spChg>
        <pc:picChg chg="del">
          <ac:chgData name="Roberto Ballester Delgado" userId="e2602171-21a1-491e-ba82-6f4ad760ee76" providerId="ADAL" clId="{F8E5D392-E5DF-448E-88D4-2A5BD833567D}" dt="2026-02-26T08:09:20.205" v="780" actId="478"/>
          <ac:picMkLst>
            <pc:docMk/>
            <pc:sldMk cId="995628209" sldId="2147377096"/>
            <ac:picMk id="4" creationId="{78B0FCAA-5B89-6B75-ED85-13D22D0676EF}"/>
          </ac:picMkLst>
        </pc:picChg>
        <pc:picChg chg="del">
          <ac:chgData name="Roberto Ballester Delgado" userId="e2602171-21a1-491e-ba82-6f4ad760ee76" providerId="ADAL" clId="{F8E5D392-E5DF-448E-88D4-2A5BD833567D}" dt="2026-02-26T08:09:21.632" v="781" actId="478"/>
          <ac:picMkLst>
            <pc:docMk/>
            <pc:sldMk cId="995628209" sldId="2147377096"/>
            <ac:picMk id="5" creationId="{04ECE0F4-9167-7A59-9475-8CFDF5EBFF1F}"/>
          </ac:picMkLst>
        </pc:picChg>
        <pc:picChg chg="add mod modCrop">
          <ac:chgData name="Roberto Ballester Delgado" userId="e2602171-21a1-491e-ba82-6f4ad760ee76" providerId="ADAL" clId="{F8E5D392-E5DF-448E-88D4-2A5BD833567D}" dt="2026-02-26T08:13:02.665" v="826" actId="1440"/>
          <ac:picMkLst>
            <pc:docMk/>
            <pc:sldMk cId="995628209" sldId="2147377096"/>
            <ac:picMk id="8" creationId="{2985F026-869B-B3FF-9FCD-4E088924931A}"/>
          </ac:picMkLst>
        </pc:picChg>
        <pc:picChg chg="del">
          <ac:chgData name="Roberto Ballester Delgado" userId="e2602171-21a1-491e-ba82-6f4ad760ee76" providerId="ADAL" clId="{F8E5D392-E5DF-448E-88D4-2A5BD833567D}" dt="2026-02-26T08:09:22.286" v="782" actId="478"/>
          <ac:picMkLst>
            <pc:docMk/>
            <pc:sldMk cId="995628209" sldId="2147377096"/>
            <ac:picMk id="9" creationId="{238D1C50-28FF-FD36-5833-12561C9541D4}"/>
          </ac:picMkLst>
        </pc:picChg>
        <pc:picChg chg="add del mod">
          <ac:chgData name="Roberto Ballester Delgado" userId="e2602171-21a1-491e-ba82-6f4ad760ee76" providerId="ADAL" clId="{F8E5D392-E5DF-448E-88D4-2A5BD833567D}" dt="2026-02-26T08:11:34.262" v="806" actId="478"/>
          <ac:picMkLst>
            <pc:docMk/>
            <pc:sldMk cId="995628209" sldId="2147377096"/>
            <ac:picMk id="11" creationId="{91AC172A-70E9-E990-D9F6-083E2B285D79}"/>
          </ac:picMkLst>
        </pc:picChg>
        <pc:picChg chg="add mod">
          <ac:chgData name="Roberto Ballester Delgado" userId="e2602171-21a1-491e-ba82-6f4ad760ee76" providerId="ADAL" clId="{F8E5D392-E5DF-448E-88D4-2A5BD833567D}" dt="2026-02-26T08:12:59.435" v="825" actId="1440"/>
          <ac:picMkLst>
            <pc:docMk/>
            <pc:sldMk cId="995628209" sldId="2147377096"/>
            <ac:picMk id="12" creationId="{809233C6-0752-13DB-2726-E41001297629}"/>
          </ac:picMkLst>
        </pc:picChg>
        <pc:picChg chg="add mod">
          <ac:chgData name="Roberto Ballester Delgado" userId="e2602171-21a1-491e-ba82-6f4ad760ee76" providerId="ADAL" clId="{F8E5D392-E5DF-448E-88D4-2A5BD833567D}" dt="2026-02-26T08:12:59.435" v="825" actId="1440"/>
          <ac:picMkLst>
            <pc:docMk/>
            <pc:sldMk cId="995628209" sldId="2147377096"/>
            <ac:picMk id="14" creationId="{F54E35E1-B085-0C8D-D242-8D199BB620DC}"/>
          </ac:picMkLst>
        </pc:picChg>
        <pc:picChg chg="add del">
          <ac:chgData name="Roberto Ballester Delgado" userId="e2602171-21a1-491e-ba82-6f4ad760ee76" providerId="ADAL" clId="{F8E5D392-E5DF-448E-88D4-2A5BD833567D}" dt="2026-02-26T08:14:05.586" v="835" actId="478"/>
          <ac:picMkLst>
            <pc:docMk/>
            <pc:sldMk cId="995628209" sldId="2147377096"/>
            <ac:picMk id="30" creationId="{C9505667-A25B-3404-995B-484330775991}"/>
          </ac:picMkLst>
        </pc:picChg>
      </pc:sldChg>
      <pc:sldChg chg="modSp add del mod ord addAnim delAnim">
        <pc:chgData name="Roberto Ballester Delgado" userId="e2602171-21a1-491e-ba82-6f4ad760ee76" providerId="ADAL" clId="{F8E5D392-E5DF-448E-88D4-2A5BD833567D}" dt="2026-02-26T08:25:44.865" v="1133" actId="47"/>
        <pc:sldMkLst>
          <pc:docMk/>
          <pc:sldMk cId="2141662141" sldId="2147377097"/>
        </pc:sldMkLst>
        <pc:spChg chg="mod">
          <ac:chgData name="Roberto Ballester Delgado" userId="e2602171-21a1-491e-ba82-6f4ad760ee76" providerId="ADAL" clId="{F8E5D392-E5DF-448E-88D4-2A5BD833567D}" dt="2026-02-26T07:56:22.140" v="678" actId="108"/>
          <ac:spMkLst>
            <pc:docMk/>
            <pc:sldMk cId="2141662141" sldId="2147377097"/>
            <ac:spMk id="21" creationId="{47737B24-8131-E752-6E45-C91378D160EF}"/>
          </ac:spMkLst>
        </pc:spChg>
      </pc:sldChg>
      <pc:sldChg chg="add del">
        <pc:chgData name="Roberto Ballester Delgado" userId="e2602171-21a1-491e-ba82-6f4ad760ee76" providerId="ADAL" clId="{F8E5D392-E5DF-448E-88D4-2A5BD833567D}" dt="2026-02-26T08:29:37.242" v="1187" actId="47"/>
        <pc:sldMkLst>
          <pc:docMk/>
          <pc:sldMk cId="928438300" sldId="2147377098"/>
        </pc:sldMkLst>
      </pc:sldChg>
      <pc:sldChg chg="addSp delSp modSp add mod modTransition addAnim delAnim modAnim">
        <pc:chgData name="Roberto Ballester Delgado" userId="e2602171-21a1-491e-ba82-6f4ad760ee76" providerId="ADAL" clId="{F8E5D392-E5DF-448E-88D4-2A5BD833567D}" dt="2026-02-26T08:44:18.953" v="1303"/>
        <pc:sldMkLst>
          <pc:docMk/>
          <pc:sldMk cId="1114375696" sldId="2147377099"/>
        </pc:sldMkLst>
        <pc:spChg chg="mod">
          <ac:chgData name="Roberto Ballester Delgado" userId="e2602171-21a1-491e-ba82-6f4ad760ee76" providerId="ADAL" clId="{F8E5D392-E5DF-448E-88D4-2A5BD833567D}" dt="2026-02-26T08:29:30.137" v="1186" actId="14100"/>
          <ac:spMkLst>
            <pc:docMk/>
            <pc:sldMk cId="1114375696" sldId="2147377099"/>
            <ac:spMk id="4" creationId="{41C0389E-95FD-063B-F057-F49027522337}"/>
          </ac:spMkLst>
        </pc:spChg>
        <pc:spChg chg="mod">
          <ac:chgData name="Roberto Ballester Delgado" userId="e2602171-21a1-491e-ba82-6f4ad760ee76" providerId="ADAL" clId="{F8E5D392-E5DF-448E-88D4-2A5BD833567D}" dt="2026-02-26T08:38:34.825" v="1227" actId="113"/>
          <ac:spMkLst>
            <pc:docMk/>
            <pc:sldMk cId="1114375696" sldId="2147377099"/>
            <ac:spMk id="10" creationId="{DCDD5BE7-BA65-B935-87F0-0D5FC3B4AB64}"/>
          </ac:spMkLst>
        </pc:spChg>
        <pc:picChg chg="add mod">
          <ac:chgData name="Roberto Ballester Delgado" userId="e2602171-21a1-491e-ba82-6f4ad760ee76" providerId="ADAL" clId="{F8E5D392-E5DF-448E-88D4-2A5BD833567D}" dt="2026-02-26T08:28:24.157" v="1176" actId="1076"/>
          <ac:picMkLst>
            <pc:docMk/>
            <pc:sldMk cId="1114375696" sldId="2147377099"/>
            <ac:picMk id="2" creationId="{B4FFD5C4-173C-100F-3EE4-1F248E99D18B}"/>
          </ac:picMkLst>
        </pc:picChg>
        <pc:picChg chg="del mod">
          <ac:chgData name="Roberto Ballester Delgado" userId="e2602171-21a1-491e-ba82-6f4ad760ee76" providerId="ADAL" clId="{F8E5D392-E5DF-448E-88D4-2A5BD833567D}" dt="2026-02-26T08:26:39.853" v="1157" actId="478"/>
          <ac:picMkLst>
            <pc:docMk/>
            <pc:sldMk cId="1114375696" sldId="2147377099"/>
            <ac:picMk id="5" creationId="{7994BFED-DB30-F1DC-3CD9-D42E89F49D90}"/>
          </ac:picMkLst>
        </pc:picChg>
        <pc:picChg chg="add mod">
          <ac:chgData name="Roberto Ballester Delgado" userId="e2602171-21a1-491e-ba82-6f4ad760ee76" providerId="ADAL" clId="{F8E5D392-E5DF-448E-88D4-2A5BD833567D}" dt="2026-02-26T08:28:22.875" v="1175" actId="1076"/>
          <ac:picMkLst>
            <pc:docMk/>
            <pc:sldMk cId="1114375696" sldId="2147377099"/>
            <ac:picMk id="6" creationId="{DA7CA889-5779-126D-66D9-3D179B83EBE4}"/>
          </ac:picMkLst>
        </pc:picChg>
        <pc:picChg chg="add del">
          <ac:chgData name="Roberto Ballester Delgado" userId="e2602171-21a1-491e-ba82-6f4ad760ee76" providerId="ADAL" clId="{F8E5D392-E5DF-448E-88D4-2A5BD833567D}" dt="2026-02-26T08:26:31.818" v="1153" actId="478"/>
          <ac:picMkLst>
            <pc:docMk/>
            <pc:sldMk cId="1114375696" sldId="2147377099"/>
            <ac:picMk id="8" creationId="{2F5BBCA0-80CD-1F4A-2A1E-DDBBBBE591FC}"/>
          </ac:picMkLst>
        </pc:picChg>
        <pc:picChg chg="del mod">
          <ac:chgData name="Roberto Ballester Delgado" userId="e2602171-21a1-491e-ba82-6f4ad760ee76" providerId="ADAL" clId="{F8E5D392-E5DF-448E-88D4-2A5BD833567D}" dt="2026-02-26T08:27:34.037" v="1163" actId="478"/>
          <ac:picMkLst>
            <pc:docMk/>
            <pc:sldMk cId="1114375696" sldId="2147377099"/>
            <ac:picMk id="11" creationId="{7F179DBF-AC53-39EB-C21D-1320AE971B14}"/>
          </ac:picMkLst>
        </pc:picChg>
        <pc:picChg chg="del">
          <ac:chgData name="Roberto Ballester Delgado" userId="e2602171-21a1-491e-ba82-6f4ad760ee76" providerId="ADAL" clId="{F8E5D392-E5DF-448E-88D4-2A5BD833567D}" dt="2026-02-26T08:27:14.643" v="1160" actId="478"/>
          <ac:picMkLst>
            <pc:docMk/>
            <pc:sldMk cId="1114375696" sldId="2147377099"/>
            <ac:picMk id="13" creationId="{08677B4E-ADF4-71A9-C4B7-90EB7122BBAC}"/>
          </ac:picMkLst>
        </pc:picChg>
        <pc:picChg chg="mod">
          <ac:chgData name="Roberto Ballester Delgado" userId="e2602171-21a1-491e-ba82-6f4ad760ee76" providerId="ADAL" clId="{F8E5D392-E5DF-448E-88D4-2A5BD833567D}" dt="2026-02-26T08:28:36.925" v="1179" actId="14100"/>
          <ac:picMkLst>
            <pc:docMk/>
            <pc:sldMk cId="1114375696" sldId="2147377099"/>
            <ac:picMk id="36" creationId="{E802E5E9-88B9-2002-544E-D298749BE80A}"/>
          </ac:picMkLst>
        </pc:picChg>
        <pc:picChg chg="del mod">
          <ac:chgData name="Roberto Ballester Delgado" userId="e2602171-21a1-491e-ba82-6f4ad760ee76" providerId="ADAL" clId="{F8E5D392-E5DF-448E-88D4-2A5BD833567D}" dt="2026-02-26T08:26:35.790" v="1155" actId="478"/>
          <ac:picMkLst>
            <pc:docMk/>
            <pc:sldMk cId="1114375696" sldId="2147377099"/>
            <ac:picMk id="42" creationId="{9E5D92C7-7274-AAE0-DB0F-501FAC2E6C0D}"/>
          </ac:picMkLst>
        </pc:picChg>
        <pc:picChg chg="del">
          <ac:chgData name="Roberto Ballester Delgado" userId="e2602171-21a1-491e-ba82-6f4ad760ee76" providerId="ADAL" clId="{F8E5D392-E5DF-448E-88D4-2A5BD833567D}" dt="2026-02-26T08:26:41.218" v="1158" actId="478"/>
          <ac:picMkLst>
            <pc:docMk/>
            <pc:sldMk cId="1114375696" sldId="2147377099"/>
            <ac:picMk id="44" creationId="{0F77EC21-A51F-A770-44D8-CB66C86AA480}"/>
          </ac:picMkLst>
        </pc:picChg>
        <pc:picChg chg="mod">
          <ac:chgData name="Roberto Ballester Delgado" userId="e2602171-21a1-491e-ba82-6f4ad760ee76" providerId="ADAL" clId="{F8E5D392-E5DF-448E-88D4-2A5BD833567D}" dt="2026-02-26T08:27:07.127" v="1159" actId="1076"/>
          <ac:picMkLst>
            <pc:docMk/>
            <pc:sldMk cId="1114375696" sldId="2147377099"/>
            <ac:picMk id="48" creationId="{2BD15CA5-2496-8B71-ED73-80B5B9424C3E}"/>
          </ac:picMkLst>
        </pc:picChg>
      </pc:sldChg>
      <pc:sldChg chg="modSp add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4204073283" sldId="2147377100"/>
        </pc:sldMkLst>
        <pc:spChg chg="mod">
          <ac:chgData name="Roberto Ballester Delgado" userId="e2602171-21a1-491e-ba82-6f4ad760ee76" providerId="ADAL" clId="{F8E5D392-E5DF-448E-88D4-2A5BD833567D}" dt="2026-02-26T08:30:08.770" v="1188" actId="20577"/>
          <ac:spMkLst>
            <pc:docMk/>
            <pc:sldMk cId="4204073283" sldId="2147377100"/>
            <ac:spMk id="2" creationId="{1046677F-5371-0F31-3D4F-620F39804829}"/>
          </ac:spMkLst>
        </pc:spChg>
        <pc:spChg chg="mod">
          <ac:chgData name="Roberto Ballester Delgado" userId="e2602171-21a1-491e-ba82-6f4ad760ee76" providerId="ADAL" clId="{F8E5D392-E5DF-448E-88D4-2A5BD833567D}" dt="2026-02-26T08:38:48.419" v="1229" actId="113"/>
          <ac:spMkLst>
            <pc:docMk/>
            <pc:sldMk cId="4204073283" sldId="2147377100"/>
            <ac:spMk id="10" creationId="{8AEF27DE-D7FC-C2B5-32D2-852047A234CD}"/>
          </ac:spMkLst>
        </pc:spChg>
      </pc:sldChg>
      <pc:sldChg chg="modSp add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298141023" sldId="2147377101"/>
        </pc:sldMkLst>
        <pc:spChg chg="mod">
          <ac:chgData name="Roberto Ballester Delgado" userId="e2602171-21a1-491e-ba82-6f4ad760ee76" providerId="ADAL" clId="{F8E5D392-E5DF-448E-88D4-2A5BD833567D}" dt="2026-02-26T08:38:41.686" v="1228" actId="113"/>
          <ac:spMkLst>
            <pc:docMk/>
            <pc:sldMk cId="298141023" sldId="2147377101"/>
            <ac:spMk id="10" creationId="{AA1E7276-06A1-4059-0D63-EEDA01FB0946}"/>
          </ac:spMkLst>
        </pc:spChg>
      </pc:sldChg>
      <pc:sldChg chg="modSp add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2976180425" sldId="2147377102"/>
        </pc:sldMkLst>
        <pc:spChg chg="mod">
          <ac:chgData name="Roberto Ballester Delgado" userId="e2602171-21a1-491e-ba82-6f4ad760ee76" providerId="ADAL" clId="{F8E5D392-E5DF-448E-88D4-2A5BD833567D}" dt="2026-02-26T08:38:55.153" v="1230" actId="113"/>
          <ac:spMkLst>
            <pc:docMk/>
            <pc:sldMk cId="2976180425" sldId="2147377102"/>
            <ac:spMk id="10" creationId="{BE233919-92BF-FA4E-DC21-2814355B25A6}"/>
          </ac:spMkLst>
        </pc:spChg>
      </pc:sldChg>
      <pc:sldChg chg="modSp add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2985045949" sldId="2147377103"/>
        </pc:sldMkLst>
        <pc:spChg chg="mod">
          <ac:chgData name="Roberto Ballester Delgado" userId="e2602171-21a1-491e-ba82-6f4ad760ee76" providerId="ADAL" clId="{F8E5D392-E5DF-448E-88D4-2A5BD833567D}" dt="2026-02-26T08:39:00.986" v="1231" actId="113"/>
          <ac:spMkLst>
            <pc:docMk/>
            <pc:sldMk cId="2985045949" sldId="2147377103"/>
            <ac:spMk id="10" creationId="{E745FEDC-8335-DF83-FC0F-DD6F71FE42C0}"/>
          </ac:spMkLst>
        </pc:spChg>
      </pc:sldChg>
      <pc:sldChg chg="modSp add mod modTransition">
        <pc:chgData name="Roberto Ballester Delgado" userId="e2602171-21a1-491e-ba82-6f4ad760ee76" providerId="ADAL" clId="{F8E5D392-E5DF-448E-88D4-2A5BD833567D}" dt="2026-02-26T08:45:37.954" v="1320" actId="20577"/>
        <pc:sldMkLst>
          <pc:docMk/>
          <pc:sldMk cId="2262084498" sldId="2147377104"/>
        </pc:sldMkLst>
        <pc:spChg chg="mod">
          <ac:chgData name="Roberto Ballester Delgado" userId="e2602171-21a1-491e-ba82-6f4ad760ee76" providerId="ADAL" clId="{F8E5D392-E5DF-448E-88D4-2A5BD833567D}" dt="2026-02-26T08:45:37.954" v="1320" actId="20577"/>
          <ac:spMkLst>
            <pc:docMk/>
            <pc:sldMk cId="2262084498" sldId="2147377104"/>
            <ac:spMk id="2" creationId="{9FD52E1B-1D43-C34C-98D0-9AD242DF882A}"/>
          </ac:spMkLst>
        </pc:spChg>
        <pc:spChg chg="mod">
          <ac:chgData name="Roberto Ballester Delgado" userId="e2602171-21a1-491e-ba82-6f4ad760ee76" providerId="ADAL" clId="{F8E5D392-E5DF-448E-88D4-2A5BD833567D}" dt="2026-02-26T08:39:04.534" v="1232" actId="113"/>
          <ac:spMkLst>
            <pc:docMk/>
            <pc:sldMk cId="2262084498" sldId="2147377104"/>
            <ac:spMk id="10" creationId="{5E33F68C-C5D8-8A5C-B953-1998EE355CF4}"/>
          </ac:spMkLst>
        </pc:spChg>
      </pc:sldChg>
      <pc:sldChg chg="addSp modSp add mod modTransition">
        <pc:chgData name="Roberto Ballester Delgado" userId="e2602171-21a1-491e-ba82-6f4ad760ee76" providerId="ADAL" clId="{F8E5D392-E5DF-448E-88D4-2A5BD833567D}" dt="2026-02-26T11:00:38.403" v="1363" actId="1440"/>
        <pc:sldMkLst>
          <pc:docMk/>
          <pc:sldMk cId="3384919550" sldId="2147377105"/>
        </pc:sldMkLst>
        <pc:spChg chg="mod">
          <ac:chgData name="Roberto Ballester Delgado" userId="e2602171-21a1-491e-ba82-6f4ad760ee76" providerId="ADAL" clId="{F8E5D392-E5DF-448E-88D4-2A5BD833567D}" dt="2026-02-26T11:00:29.502" v="1360" actId="1076"/>
          <ac:spMkLst>
            <pc:docMk/>
            <pc:sldMk cId="3384919550" sldId="2147377105"/>
            <ac:spMk id="4" creationId="{8E035B9B-F3C7-C3A0-F5E6-A4FB6FC3DD6F}"/>
          </ac:spMkLst>
        </pc:spChg>
        <pc:spChg chg="mod">
          <ac:chgData name="Roberto Ballester Delgado" userId="e2602171-21a1-491e-ba82-6f4ad760ee76" providerId="ADAL" clId="{F8E5D392-E5DF-448E-88D4-2A5BD833567D}" dt="2026-02-26T08:39:09.496" v="1233" actId="113"/>
          <ac:spMkLst>
            <pc:docMk/>
            <pc:sldMk cId="3384919550" sldId="2147377105"/>
            <ac:spMk id="10" creationId="{058122E4-B96C-4353-59BA-200B4971B44C}"/>
          </ac:spMkLst>
        </pc:spChg>
        <pc:picChg chg="add mod">
          <ac:chgData name="Roberto Ballester Delgado" userId="e2602171-21a1-491e-ba82-6f4ad760ee76" providerId="ADAL" clId="{F8E5D392-E5DF-448E-88D4-2A5BD833567D}" dt="2026-02-26T11:00:38.403" v="1363" actId="1440"/>
          <ac:picMkLst>
            <pc:docMk/>
            <pc:sldMk cId="3384919550" sldId="2147377105"/>
            <ac:picMk id="6" creationId="{0C8DEA05-4BA0-E320-82A0-4E5724C298C3}"/>
          </ac:picMkLst>
        </pc:picChg>
      </pc:sldChg>
      <pc:sldChg chg="addSp delSp modSp add mod modTransition addAnim delAnim modAnim">
        <pc:chgData name="Roberto Ballester Delgado" userId="e2602171-21a1-491e-ba82-6f4ad760ee76" providerId="ADAL" clId="{F8E5D392-E5DF-448E-88D4-2A5BD833567D}" dt="2026-02-27T09:23:17.972" v="1423"/>
        <pc:sldMkLst>
          <pc:docMk/>
          <pc:sldMk cId="2867984421" sldId="2147377109"/>
        </pc:sldMkLst>
        <pc:spChg chg="mod">
          <ac:chgData name="Roberto Ballester Delgado" userId="e2602171-21a1-491e-ba82-6f4ad760ee76" providerId="ADAL" clId="{F8E5D392-E5DF-448E-88D4-2A5BD833567D}" dt="2026-02-26T19:02:46.825" v="1364" actId="1076"/>
          <ac:spMkLst>
            <pc:docMk/>
            <pc:sldMk cId="2867984421" sldId="2147377109"/>
            <ac:spMk id="2" creationId="{3A6201C4-4880-6E5D-4E44-1C6D20CFF81A}"/>
          </ac:spMkLst>
        </pc:spChg>
        <pc:spChg chg="del mod">
          <ac:chgData name="Roberto Ballester Delgado" userId="e2602171-21a1-491e-ba82-6f4ad760ee76" providerId="ADAL" clId="{F8E5D392-E5DF-448E-88D4-2A5BD833567D}" dt="2026-02-26T08:07:14.250" v="765" actId="478"/>
          <ac:spMkLst>
            <pc:docMk/>
            <pc:sldMk cId="2867984421" sldId="2147377109"/>
            <ac:spMk id="10" creationId="{BB2224AB-A001-6D9A-38C8-29098CE73CE5}"/>
          </ac:spMkLst>
        </pc:spChg>
        <pc:spChg chg="add mod">
          <ac:chgData name="Roberto Ballester Delgado" userId="e2602171-21a1-491e-ba82-6f4ad760ee76" providerId="ADAL" clId="{F8E5D392-E5DF-448E-88D4-2A5BD833567D}" dt="2026-02-26T07:55:24.413" v="666" actId="164"/>
          <ac:spMkLst>
            <pc:docMk/>
            <pc:sldMk cId="2867984421" sldId="2147377109"/>
            <ac:spMk id="11" creationId="{3664552D-31D1-47DE-D415-12A8958D3AD3}"/>
          </ac:spMkLst>
        </pc:spChg>
        <pc:spChg chg="add mod">
          <ac:chgData name="Roberto Ballester Delgado" userId="e2602171-21a1-491e-ba82-6f4ad760ee76" providerId="ADAL" clId="{F8E5D392-E5DF-448E-88D4-2A5BD833567D}" dt="2026-02-26T08:07:09.331" v="763"/>
          <ac:spMkLst>
            <pc:docMk/>
            <pc:sldMk cId="2867984421" sldId="2147377109"/>
            <ac:spMk id="16" creationId="{24A4D6AD-B82F-BBFF-4A0D-8328803E14FB}"/>
          </ac:spMkLst>
        </pc:spChg>
        <pc:spChg chg="add del mod">
          <ac:chgData name="Roberto Ballester Delgado" userId="e2602171-21a1-491e-ba82-6f4ad760ee76" providerId="ADAL" clId="{F8E5D392-E5DF-448E-88D4-2A5BD833567D}" dt="2026-02-26T08:07:19.635" v="767" actId="478"/>
          <ac:spMkLst>
            <pc:docMk/>
            <pc:sldMk cId="2867984421" sldId="2147377109"/>
            <ac:spMk id="18" creationId="{08802228-A46A-B942-028C-D4511751AA71}"/>
          </ac:spMkLst>
        </pc:spChg>
        <pc:grpChg chg="add del mod">
          <ac:chgData name="Roberto Ballester Delgado" userId="e2602171-21a1-491e-ba82-6f4ad760ee76" providerId="ADAL" clId="{F8E5D392-E5DF-448E-88D4-2A5BD833567D}" dt="2026-02-26T07:52:36.404" v="652" actId="478"/>
          <ac:grpSpMkLst>
            <pc:docMk/>
            <pc:sldMk cId="2867984421" sldId="2147377109"/>
            <ac:grpSpMk id="12" creationId="{17978F79-5D3D-F5EE-CA8A-7E6EEA788E06}"/>
          </ac:grpSpMkLst>
        </pc:grpChg>
        <pc:grpChg chg="add mod">
          <ac:chgData name="Roberto Ballester Delgado" userId="e2602171-21a1-491e-ba82-6f4ad760ee76" providerId="ADAL" clId="{F8E5D392-E5DF-448E-88D4-2A5BD833567D}" dt="2026-02-26T08:07:21.891" v="768" actId="1076"/>
          <ac:grpSpMkLst>
            <pc:docMk/>
            <pc:sldMk cId="2867984421" sldId="2147377109"/>
            <ac:grpSpMk id="15" creationId="{8AF2BCD3-CF6E-8B25-5DEC-C4EAF14F2B71}"/>
          </ac:grpSpMkLst>
        </pc:grpChg>
        <pc:picChg chg="add mod">
          <ac:chgData name="Roberto Ballester Delgado" userId="e2602171-21a1-491e-ba82-6f4ad760ee76" providerId="ADAL" clId="{F8E5D392-E5DF-448E-88D4-2A5BD833567D}" dt="2026-02-27T09:23:11.614" v="1422" actId="1038"/>
          <ac:picMkLst>
            <pc:docMk/>
            <pc:sldMk cId="2867984421" sldId="2147377109"/>
            <ac:picMk id="4" creationId="{1EFE2334-D532-78E8-6530-D8363D8A9D55}"/>
          </ac:picMkLst>
        </pc:picChg>
        <pc:picChg chg="add del mod">
          <ac:chgData name="Roberto Ballester Delgado" userId="e2602171-21a1-491e-ba82-6f4ad760ee76" providerId="ADAL" clId="{F8E5D392-E5DF-448E-88D4-2A5BD833567D}" dt="2026-02-26T19:03:32.573" v="1368" actId="478"/>
          <ac:picMkLst>
            <pc:docMk/>
            <pc:sldMk cId="2867984421" sldId="2147377109"/>
            <ac:picMk id="4" creationId="{73947923-7526-D68F-3636-A7F529C4F0C2}"/>
          </ac:picMkLst>
        </pc:picChg>
        <pc:picChg chg="add del mod">
          <ac:chgData name="Roberto Ballester Delgado" userId="e2602171-21a1-491e-ba82-6f4ad760ee76" providerId="ADAL" clId="{F8E5D392-E5DF-448E-88D4-2A5BD833567D}" dt="2026-02-26T19:04:49.258" v="1376" actId="478"/>
          <ac:picMkLst>
            <pc:docMk/>
            <pc:sldMk cId="2867984421" sldId="2147377109"/>
            <ac:picMk id="5" creationId="{599DCE9E-DF06-C028-E5C5-8DBFD175F99B}"/>
          </ac:picMkLst>
        </pc:picChg>
        <pc:picChg chg="del">
          <ac:chgData name="Roberto Ballester Delgado" userId="e2602171-21a1-491e-ba82-6f4ad760ee76" providerId="ADAL" clId="{F8E5D392-E5DF-448E-88D4-2A5BD833567D}" dt="2026-02-26T07:50:32.659" v="632" actId="478"/>
          <ac:picMkLst>
            <pc:docMk/>
            <pc:sldMk cId="2867984421" sldId="2147377109"/>
            <ac:picMk id="5" creationId="{8B3A2FE7-DD4E-B7D9-380D-1DC05A8D753D}"/>
          </ac:picMkLst>
        </pc:picChg>
        <pc:picChg chg="add del mod">
          <ac:chgData name="Roberto Ballester Delgado" userId="e2602171-21a1-491e-ba82-6f4ad760ee76" providerId="ADAL" clId="{F8E5D392-E5DF-448E-88D4-2A5BD833567D}" dt="2026-02-26T19:05:03.231" v="1380"/>
          <ac:picMkLst>
            <pc:docMk/>
            <pc:sldMk cId="2867984421" sldId="2147377109"/>
            <ac:picMk id="6" creationId="{6006F751-5FAC-DE60-64F6-791E23C09BEF}"/>
          </ac:picMkLst>
        </pc:picChg>
        <pc:picChg chg="add del mod">
          <ac:chgData name="Roberto Ballester Delgado" userId="e2602171-21a1-491e-ba82-6f4ad760ee76" providerId="ADAL" clId="{F8E5D392-E5DF-448E-88D4-2A5BD833567D}" dt="2026-02-26T07:50:51.904" v="638" actId="478"/>
          <ac:picMkLst>
            <pc:docMk/>
            <pc:sldMk cId="2867984421" sldId="2147377109"/>
            <ac:picMk id="6" creationId="{D6E11189-4DC7-4980-8331-293FDBBDF2BA}"/>
          </ac:picMkLst>
        </pc:picChg>
        <pc:picChg chg="add del mod">
          <ac:chgData name="Roberto Ballester Delgado" userId="e2602171-21a1-491e-ba82-6f4ad760ee76" providerId="ADAL" clId="{F8E5D392-E5DF-448E-88D4-2A5BD833567D}" dt="2026-02-27T09:22:40.512" v="1416" actId="478"/>
          <ac:picMkLst>
            <pc:docMk/>
            <pc:sldMk cId="2867984421" sldId="2147377109"/>
            <ac:picMk id="8" creationId="{D8C0D9A0-8E03-B401-4753-EB00FBDC9696}"/>
          </ac:picMkLst>
        </pc:picChg>
        <pc:picChg chg="add mod">
          <ac:chgData name="Roberto Ballester Delgado" userId="e2602171-21a1-491e-ba82-6f4ad760ee76" providerId="ADAL" clId="{F8E5D392-E5DF-448E-88D4-2A5BD833567D}" dt="2026-02-26T07:55:24.413" v="666" actId="164"/>
          <ac:picMkLst>
            <pc:docMk/>
            <pc:sldMk cId="2867984421" sldId="2147377109"/>
            <ac:picMk id="9" creationId="{1C3F3CC7-2FEB-7F85-FCE4-C7E06BA04206}"/>
          </ac:picMkLst>
        </pc:picChg>
        <pc:picChg chg="mod">
          <ac:chgData name="Roberto Ballester Delgado" userId="e2602171-21a1-491e-ba82-6f4ad760ee76" providerId="ADAL" clId="{F8E5D392-E5DF-448E-88D4-2A5BD833567D}" dt="2026-02-26T07:52:18.773" v="648"/>
          <ac:picMkLst>
            <pc:docMk/>
            <pc:sldMk cId="2867984421" sldId="2147377109"/>
            <ac:picMk id="13" creationId="{BF8FA612-1B79-1C00-375A-1C62919A162F}"/>
          </ac:picMkLst>
        </pc:picChg>
        <pc:picChg chg="mod">
          <ac:chgData name="Roberto Ballester Delgado" userId="e2602171-21a1-491e-ba82-6f4ad760ee76" providerId="ADAL" clId="{F8E5D392-E5DF-448E-88D4-2A5BD833567D}" dt="2026-02-26T07:52:18.773" v="648"/>
          <ac:picMkLst>
            <pc:docMk/>
            <pc:sldMk cId="2867984421" sldId="2147377109"/>
            <ac:picMk id="14" creationId="{F68ED7FB-BC27-9BF9-BAA6-3DF120CDFB12}"/>
          </ac:picMkLst>
        </pc:picChg>
      </pc:sldChg>
      <pc:sldChg chg="modSp add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151881397" sldId="2147377110"/>
        </pc:sldMkLst>
        <pc:spChg chg="mod">
          <ac:chgData name="Roberto Ballester Delgado" userId="e2602171-21a1-491e-ba82-6f4ad760ee76" providerId="ADAL" clId="{F8E5D392-E5DF-448E-88D4-2A5BD833567D}" dt="2026-02-26T08:39:15.153" v="1234" actId="113"/>
          <ac:spMkLst>
            <pc:docMk/>
            <pc:sldMk cId="151881397" sldId="2147377110"/>
            <ac:spMk id="10" creationId="{8B2CE7F9-319C-76A2-6CD2-4C043312148B}"/>
          </ac:spMkLst>
        </pc:spChg>
      </pc:sldChg>
      <pc:sldChg chg="modSp add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3100842686" sldId="2147377111"/>
        </pc:sldMkLst>
        <pc:spChg chg="mod">
          <ac:chgData name="Roberto Ballester Delgado" userId="e2602171-21a1-491e-ba82-6f4ad760ee76" providerId="ADAL" clId="{F8E5D392-E5DF-448E-88D4-2A5BD833567D}" dt="2026-02-26T08:39:19.113" v="1235" actId="113"/>
          <ac:spMkLst>
            <pc:docMk/>
            <pc:sldMk cId="3100842686" sldId="2147377111"/>
            <ac:spMk id="10" creationId="{E75E8DA1-BADF-C924-7DDF-8C0D8D214D83}"/>
          </ac:spMkLst>
        </pc:spChg>
      </pc:sldChg>
      <pc:sldChg chg="modSp add mod modTransition">
        <pc:chgData name="Roberto Ballester Delgado" userId="e2602171-21a1-491e-ba82-6f4ad760ee76" providerId="ADAL" clId="{F8E5D392-E5DF-448E-88D4-2A5BD833567D}" dt="2026-02-26T10:55:04.812" v="1329" actId="1076"/>
        <pc:sldMkLst>
          <pc:docMk/>
          <pc:sldMk cId="2455213172" sldId="2147377113"/>
        </pc:sldMkLst>
        <pc:spChg chg="mod">
          <ac:chgData name="Roberto Ballester Delgado" userId="e2602171-21a1-491e-ba82-6f4ad760ee76" providerId="ADAL" clId="{F8E5D392-E5DF-448E-88D4-2A5BD833567D}" dt="2026-02-26T10:55:04.812" v="1329" actId="1076"/>
          <ac:spMkLst>
            <pc:docMk/>
            <pc:sldMk cId="2455213172" sldId="2147377113"/>
            <ac:spMk id="2" creationId="{6D21E09D-4EF4-6AC7-2055-61A546F31F49}"/>
          </ac:spMkLst>
        </pc:spChg>
        <pc:spChg chg="mod">
          <ac:chgData name="Roberto Ballester Delgado" userId="e2602171-21a1-491e-ba82-6f4ad760ee76" providerId="ADAL" clId="{F8E5D392-E5DF-448E-88D4-2A5BD833567D}" dt="2026-02-26T08:39:23.932" v="1236" actId="113"/>
          <ac:spMkLst>
            <pc:docMk/>
            <pc:sldMk cId="2455213172" sldId="2147377113"/>
            <ac:spMk id="10" creationId="{7C18B3D2-A292-5EA7-6164-C39712022DA2}"/>
          </ac:spMkLst>
        </pc:spChg>
      </pc:sldChg>
      <pc:sldChg chg="addSp delSp modSp add mod modTransition">
        <pc:chgData name="Roberto Ballester Delgado" userId="e2602171-21a1-491e-ba82-6f4ad760ee76" providerId="ADAL" clId="{F8E5D392-E5DF-448E-88D4-2A5BD833567D}" dt="2026-02-26T08:40:47.588" v="1237"/>
        <pc:sldMkLst>
          <pc:docMk/>
          <pc:sldMk cId="3202817458" sldId="2147377114"/>
        </pc:sldMkLst>
        <pc:spChg chg="add mod">
          <ac:chgData name="Roberto Ballester Delgado" userId="e2602171-21a1-491e-ba82-6f4ad760ee76" providerId="ADAL" clId="{F8E5D392-E5DF-448E-88D4-2A5BD833567D}" dt="2026-02-25T14:28:22.078" v="456" actId="1076"/>
          <ac:spMkLst>
            <pc:docMk/>
            <pc:sldMk cId="3202817458" sldId="2147377114"/>
            <ac:spMk id="8" creationId="{FB43319C-12FA-B3F5-0E19-3DBB5A43C749}"/>
          </ac:spMkLst>
        </pc:spChg>
        <pc:spChg chg="add mod">
          <ac:chgData name="Roberto Ballester Delgado" userId="e2602171-21a1-491e-ba82-6f4ad760ee76" providerId="ADAL" clId="{F8E5D392-E5DF-448E-88D4-2A5BD833567D}" dt="2026-02-25T15:18:42.291" v="575" actId="14100"/>
          <ac:spMkLst>
            <pc:docMk/>
            <pc:sldMk cId="3202817458" sldId="2147377114"/>
            <ac:spMk id="9" creationId="{119933E1-01C8-05AB-9551-47B5C93C725A}"/>
          </ac:spMkLst>
        </pc:spChg>
        <pc:grpChg chg="add mod">
          <ac:chgData name="Roberto Ballester Delgado" userId="e2602171-21a1-491e-ba82-6f4ad760ee76" providerId="ADAL" clId="{F8E5D392-E5DF-448E-88D4-2A5BD833567D}" dt="2026-02-25T15:18:42.291" v="575" actId="14100"/>
          <ac:grpSpMkLst>
            <pc:docMk/>
            <pc:sldMk cId="3202817458" sldId="2147377114"/>
            <ac:grpSpMk id="11" creationId="{C5E72C20-3488-61FD-2D09-E628C36CDEDB}"/>
          </ac:grpSpMkLst>
        </pc:grpChg>
        <pc:picChg chg="add mod">
          <ac:chgData name="Roberto Ballester Delgado" userId="e2602171-21a1-491e-ba82-6f4ad760ee76" providerId="ADAL" clId="{F8E5D392-E5DF-448E-88D4-2A5BD833567D}" dt="2026-02-25T14:26:55.671" v="404"/>
          <ac:picMkLst>
            <pc:docMk/>
            <pc:sldMk cId="3202817458" sldId="2147377114"/>
            <ac:picMk id="5" creationId="{8465DA43-1FC2-E487-2FC6-954000ECBEEE}"/>
          </ac:picMkLst>
        </pc:picChg>
        <pc:picChg chg="mod">
          <ac:chgData name="Roberto Ballester Delgado" userId="e2602171-21a1-491e-ba82-6f4ad760ee76" providerId="ADAL" clId="{F8E5D392-E5DF-448E-88D4-2A5BD833567D}" dt="2026-02-25T15:18:36.244" v="573"/>
          <ac:picMkLst>
            <pc:docMk/>
            <pc:sldMk cId="3202817458" sldId="2147377114"/>
            <ac:picMk id="14" creationId="{4E69580B-4323-9416-E34C-7E1F79E2BC51}"/>
          </ac:picMkLst>
        </pc:picChg>
        <pc:picChg chg="mod">
          <ac:chgData name="Roberto Ballester Delgado" userId="e2602171-21a1-491e-ba82-6f4ad760ee76" providerId="ADAL" clId="{F8E5D392-E5DF-448E-88D4-2A5BD833567D}" dt="2026-02-25T15:18:36.244" v="573"/>
          <ac:picMkLst>
            <pc:docMk/>
            <pc:sldMk cId="3202817458" sldId="2147377114"/>
            <ac:picMk id="15" creationId="{E71BDECA-889E-A641-7292-50CA6BCB9AFB}"/>
          </ac:picMkLst>
        </pc:picChg>
      </pc:sldChg>
      <pc:sldChg chg="addSp delSp modSp add mod modTransition delAnim modAnim">
        <pc:chgData name="Roberto Ballester Delgado" userId="e2602171-21a1-491e-ba82-6f4ad760ee76" providerId="ADAL" clId="{F8E5D392-E5DF-448E-88D4-2A5BD833567D}" dt="2026-02-26T08:40:47.588" v="1237"/>
        <pc:sldMkLst>
          <pc:docMk/>
          <pc:sldMk cId="1320783046" sldId="2147377115"/>
        </pc:sldMkLst>
        <pc:spChg chg="mod">
          <ac:chgData name="Roberto Ballester Delgado" userId="e2602171-21a1-491e-ba82-6f4ad760ee76" providerId="ADAL" clId="{F8E5D392-E5DF-448E-88D4-2A5BD833567D}" dt="2026-02-26T08:22:33.970" v="1021" actId="114"/>
          <ac:spMkLst>
            <pc:docMk/>
            <pc:sldMk cId="1320783046" sldId="2147377115"/>
            <ac:spMk id="2" creationId="{BBE908A3-A3B8-9FBF-9850-A5050ABBA517}"/>
          </ac:spMkLst>
        </pc:spChg>
        <pc:spChg chg="mod">
          <ac:chgData name="Roberto Ballester Delgado" userId="e2602171-21a1-491e-ba82-6f4ad760ee76" providerId="ADAL" clId="{F8E5D392-E5DF-448E-88D4-2A5BD833567D}" dt="2026-02-26T08:38:19.892" v="1225" actId="113"/>
          <ac:spMkLst>
            <pc:docMk/>
            <pc:sldMk cId="1320783046" sldId="2147377115"/>
            <ac:spMk id="10" creationId="{B9CB1639-15CE-6233-A3A7-130BAD941720}"/>
          </ac:spMkLst>
        </pc:spChg>
        <pc:picChg chg="add del mod">
          <ac:chgData name="Roberto Ballester Delgado" userId="e2602171-21a1-491e-ba82-6f4ad760ee76" providerId="ADAL" clId="{F8E5D392-E5DF-448E-88D4-2A5BD833567D}" dt="2026-02-26T08:17:43.099" v="867" actId="478"/>
          <ac:picMkLst>
            <pc:docMk/>
            <pc:sldMk cId="1320783046" sldId="2147377115"/>
            <ac:picMk id="4" creationId="{4F982777-4831-2554-4995-BE31D56C25DB}"/>
          </ac:picMkLst>
        </pc:picChg>
        <pc:picChg chg="mod">
          <ac:chgData name="Roberto Ballester Delgado" userId="e2602171-21a1-491e-ba82-6f4ad760ee76" providerId="ADAL" clId="{F8E5D392-E5DF-448E-88D4-2A5BD833567D}" dt="2026-02-26T08:17:21.906" v="862" actId="1076"/>
          <ac:picMkLst>
            <pc:docMk/>
            <pc:sldMk cId="1320783046" sldId="2147377115"/>
            <ac:picMk id="5" creationId="{F029F870-DFBA-77EB-8057-94CCB891BB17}"/>
          </ac:picMkLst>
        </pc:picChg>
        <pc:picChg chg="add mod">
          <ac:chgData name="Roberto Ballester Delgado" userId="e2602171-21a1-491e-ba82-6f4ad760ee76" providerId="ADAL" clId="{F8E5D392-E5DF-448E-88D4-2A5BD833567D}" dt="2026-02-26T08:17:49.082" v="871" actId="1440"/>
          <ac:picMkLst>
            <pc:docMk/>
            <pc:sldMk cId="1320783046" sldId="2147377115"/>
            <ac:picMk id="8" creationId="{A50EC3DB-CE3C-5E45-9E39-473C55E56032}"/>
          </ac:picMkLst>
        </pc:picChg>
        <pc:picChg chg="mod">
          <ac:chgData name="Roberto Ballester Delgado" userId="e2602171-21a1-491e-ba82-6f4ad760ee76" providerId="ADAL" clId="{F8E5D392-E5DF-448E-88D4-2A5BD833567D}" dt="2026-02-26T08:17:19.683" v="861" actId="1076"/>
          <ac:picMkLst>
            <pc:docMk/>
            <pc:sldMk cId="1320783046" sldId="2147377115"/>
            <ac:picMk id="9" creationId="{CD237119-7567-EFD0-7A81-7A412CA91C00}"/>
          </ac:picMkLst>
        </pc:picChg>
        <pc:picChg chg="del">
          <ac:chgData name="Roberto Ballester Delgado" userId="e2602171-21a1-491e-ba82-6f4ad760ee76" providerId="ADAL" clId="{F8E5D392-E5DF-448E-88D4-2A5BD833567D}" dt="2026-02-26T08:16:36.261" v="847" actId="478"/>
          <ac:picMkLst>
            <pc:docMk/>
            <pc:sldMk cId="1320783046" sldId="2147377115"/>
            <ac:picMk id="12" creationId="{43DB91B1-0ADD-A1C7-3C1F-9BA5038C71F5}"/>
          </ac:picMkLst>
        </pc:picChg>
      </pc:sldChg>
      <pc:sldChg chg="addSp delSp modSp add mod modTransition delAnim modAnim">
        <pc:chgData name="Roberto Ballester Delgado" userId="e2602171-21a1-491e-ba82-6f4ad760ee76" providerId="ADAL" clId="{F8E5D392-E5DF-448E-88D4-2A5BD833567D}" dt="2026-02-26T08:40:47.588" v="1237"/>
        <pc:sldMkLst>
          <pc:docMk/>
          <pc:sldMk cId="1477856686" sldId="2147377116"/>
        </pc:sldMkLst>
        <pc:spChg chg="mod">
          <ac:chgData name="Roberto Ballester Delgado" userId="e2602171-21a1-491e-ba82-6f4ad760ee76" providerId="ADAL" clId="{F8E5D392-E5DF-448E-88D4-2A5BD833567D}" dt="2026-02-26T08:35:30.037" v="1221" actId="20577"/>
          <ac:spMkLst>
            <pc:docMk/>
            <pc:sldMk cId="1477856686" sldId="2147377116"/>
            <ac:spMk id="2" creationId="{806E110F-6E40-E825-5918-6263AE0595DD}"/>
          </ac:spMkLst>
        </pc:spChg>
        <pc:spChg chg="mod">
          <ac:chgData name="Roberto Ballester Delgado" userId="e2602171-21a1-491e-ba82-6f4ad760ee76" providerId="ADAL" clId="{F8E5D392-E5DF-448E-88D4-2A5BD833567D}" dt="2026-02-26T08:38:25.507" v="1226" actId="113"/>
          <ac:spMkLst>
            <pc:docMk/>
            <pc:sldMk cId="1477856686" sldId="2147377116"/>
            <ac:spMk id="10" creationId="{4E2E807C-C02C-7C9C-153E-D736946ABFA3}"/>
          </ac:spMkLst>
        </pc:spChg>
        <pc:spChg chg="mod">
          <ac:chgData name="Roberto Ballester Delgado" userId="e2602171-21a1-491e-ba82-6f4ad760ee76" providerId="ADAL" clId="{F8E5D392-E5DF-448E-88D4-2A5BD833567D}" dt="2026-02-26T08:24:01.563" v="1111"/>
          <ac:spMkLst>
            <pc:docMk/>
            <pc:sldMk cId="1477856686" sldId="2147377116"/>
            <ac:spMk id="12" creationId="{2B44B686-A7FA-EBA6-0480-CCCB0CBAB6E9}"/>
          </ac:spMkLst>
        </pc:spChg>
        <pc:spChg chg="mod">
          <ac:chgData name="Roberto Ballester Delgado" userId="e2602171-21a1-491e-ba82-6f4ad760ee76" providerId="ADAL" clId="{F8E5D392-E5DF-448E-88D4-2A5BD833567D}" dt="2026-02-26T08:24:01.563" v="1111"/>
          <ac:spMkLst>
            <pc:docMk/>
            <pc:sldMk cId="1477856686" sldId="2147377116"/>
            <ac:spMk id="15" creationId="{B13A4A4C-27FD-A469-4A13-8402F263B404}"/>
          </ac:spMkLst>
        </pc:spChg>
        <pc:grpChg chg="add mod">
          <ac:chgData name="Roberto Ballester Delgado" userId="e2602171-21a1-491e-ba82-6f4ad760ee76" providerId="ADAL" clId="{F8E5D392-E5DF-448E-88D4-2A5BD833567D}" dt="2026-02-26T08:24:22.605" v="1117" actId="1076"/>
          <ac:grpSpMkLst>
            <pc:docMk/>
            <pc:sldMk cId="1477856686" sldId="2147377116"/>
            <ac:grpSpMk id="9" creationId="{55A325A7-0454-B8DF-A64D-C0EEEA35595D}"/>
          </ac:grpSpMkLst>
        </pc:grpChg>
        <pc:grpChg chg="add mod">
          <ac:chgData name="Roberto Ballester Delgado" userId="e2602171-21a1-491e-ba82-6f4ad760ee76" providerId="ADAL" clId="{F8E5D392-E5DF-448E-88D4-2A5BD833567D}" dt="2026-02-26T08:24:24.468" v="1118" actId="1076"/>
          <ac:grpSpMkLst>
            <pc:docMk/>
            <pc:sldMk cId="1477856686" sldId="2147377116"/>
            <ac:grpSpMk id="13" creationId="{F5CB65BE-3FEA-3414-2976-4C97EEF97845}"/>
          </ac:grpSpMkLst>
        </pc:grpChg>
        <pc:picChg chg="del">
          <ac:chgData name="Roberto Ballester Delgado" userId="e2602171-21a1-491e-ba82-6f4ad760ee76" providerId="ADAL" clId="{F8E5D392-E5DF-448E-88D4-2A5BD833567D}" dt="2026-02-26T08:22:16.337" v="1015" actId="478"/>
          <ac:picMkLst>
            <pc:docMk/>
            <pc:sldMk cId="1477856686" sldId="2147377116"/>
            <ac:picMk id="4" creationId="{AED362E4-A572-F0F0-4C65-AE7C9B73FC77}"/>
          </ac:picMkLst>
        </pc:picChg>
        <pc:picChg chg="del">
          <ac:chgData name="Roberto Ballester Delgado" userId="e2602171-21a1-491e-ba82-6f4ad760ee76" providerId="ADAL" clId="{F8E5D392-E5DF-448E-88D4-2A5BD833567D}" dt="2026-02-26T08:22:17.053" v="1016" actId="478"/>
          <ac:picMkLst>
            <pc:docMk/>
            <pc:sldMk cId="1477856686" sldId="2147377116"/>
            <ac:picMk id="5" creationId="{4D03CF74-C4EE-1B4F-F13D-B28D899C78D4}"/>
          </ac:picMkLst>
        </pc:picChg>
        <pc:picChg chg="del">
          <ac:chgData name="Roberto Ballester Delgado" userId="e2602171-21a1-491e-ba82-6f4ad760ee76" providerId="ADAL" clId="{F8E5D392-E5DF-448E-88D4-2A5BD833567D}" dt="2026-02-26T08:22:17.723" v="1017" actId="478"/>
          <ac:picMkLst>
            <pc:docMk/>
            <pc:sldMk cId="1477856686" sldId="2147377116"/>
            <ac:picMk id="8" creationId="{4B4A3D43-2742-2FFC-EB06-F22793E2FC25}"/>
          </ac:picMkLst>
        </pc:picChg>
        <pc:picChg chg="mod">
          <ac:chgData name="Roberto Ballester Delgado" userId="e2602171-21a1-491e-ba82-6f4ad760ee76" providerId="ADAL" clId="{F8E5D392-E5DF-448E-88D4-2A5BD833567D}" dt="2026-02-26T08:24:01.563" v="1111"/>
          <ac:picMkLst>
            <pc:docMk/>
            <pc:sldMk cId="1477856686" sldId="2147377116"/>
            <ac:picMk id="11" creationId="{04C028E0-C396-3F6F-D90F-81EE55F3B0C9}"/>
          </ac:picMkLst>
        </pc:picChg>
        <pc:picChg chg="mod">
          <ac:chgData name="Roberto Ballester Delgado" userId="e2602171-21a1-491e-ba82-6f4ad760ee76" providerId="ADAL" clId="{F8E5D392-E5DF-448E-88D4-2A5BD833567D}" dt="2026-02-26T08:24:01.563" v="1111"/>
          <ac:picMkLst>
            <pc:docMk/>
            <pc:sldMk cId="1477856686" sldId="2147377116"/>
            <ac:picMk id="14" creationId="{59AC6343-9BF6-08CA-F41B-ED26F12F61C8}"/>
          </ac:picMkLst>
        </pc:picChg>
      </pc:sldChg>
      <pc:sldChg chg="add del">
        <pc:chgData name="Roberto Ballester Delgado" userId="e2602171-21a1-491e-ba82-6f4ad760ee76" providerId="ADAL" clId="{F8E5D392-E5DF-448E-88D4-2A5BD833567D}" dt="2026-02-26T08:06:12.223" v="741"/>
        <pc:sldMkLst>
          <pc:docMk/>
          <pc:sldMk cId="656743475" sldId="2147377117"/>
        </pc:sldMkLst>
      </pc:sldChg>
      <pc:sldMasterChg chg="delSldLayout">
        <pc:chgData name="Roberto Ballester Delgado" userId="e2602171-21a1-491e-ba82-6f4ad760ee76" providerId="ADAL" clId="{F8E5D392-E5DF-448E-88D4-2A5BD833567D}" dt="2026-02-25T15:20:15.736" v="596" actId="47"/>
        <pc:sldMasterMkLst>
          <pc:docMk/>
          <pc:sldMasterMk cId="3524440626" sldId="2147483720"/>
        </pc:sldMasterMkLst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º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4006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C4B41-34B8-C648-B5EB-23F8A92F2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1637599-13AC-474D-366B-EACAEC7486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7EB97DB-BFDD-EFBC-C6CD-A70D9CA996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DEEDC80-9C46-983B-E30A-014BC8C91E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71584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999FB2-09D4-5E55-8AA4-D2A44A16D2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D3F65BB-C239-3CBD-1640-33F44CFD71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C8C1F5D-6457-045A-0E64-6F04E574A0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814868-A4FC-CA83-8644-D656167D03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7580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33DB6D-45AF-5D6B-D978-19D1D2DBFE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E3B56FD-A682-0C9E-0779-55362D2E4B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DAAF529-32E1-090F-37A2-D4A566AAA6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1CDA9D-D739-0F90-DFE6-EC9189F5F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27601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EE421-6B06-6BB8-4894-092D5B468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990679B-4A9D-06DA-FAE1-EB0DB417BE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9AA62AF-43F3-4A89-8351-14EDEF81AC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3AEBBB-4120-5749-0A00-21E69A5F28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96504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E44DEA-7744-E6F0-7901-B172CC2BF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2D4DF31-DF1B-1A59-C647-3EC8D13B74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8683733-DDA6-D519-A110-CD26C92155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8B0614-8C52-9A8D-6439-61B5D9A07D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20921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9BFC56-AE3D-3E12-4F52-495E0B7198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A1CE402-6B41-D93A-B663-1EB92F3FBC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736C814-EADA-7A06-C940-759809FF37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935CCAC-A2E2-8757-A0FD-D9EA5DB846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38976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C7A92-567E-9616-5B44-28A802E71D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B153CE2-3245-FD43-2BDB-DA5E3B0B7C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35D76DF-87DE-567C-62CF-649E19D86E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A03FB9-2B98-726B-F7F3-CB8A1B858A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908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273D34-ADAD-F0E2-CADB-F2901C39B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E807A6D-EFCA-1BF0-9E99-2800DAF10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4934F10-DF9A-A3F6-3616-4CCDAA246D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1FC5E5-3F1C-6204-B77A-CF31D5E845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0601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C135D-CF48-927C-5336-79DCA39DD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01337C1-4834-2FDE-7189-C2572D24B3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6D19619-5FE3-D206-FC67-58040A19C7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DE2033-2A96-AF8C-BEBB-B43F15CF00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9943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C5A1BD-CDFD-BCB2-C2CC-315F4897F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FB313E4-AE0D-580E-B814-CD0565AD97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5DA3237-3206-C427-5711-561A16B7D4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DA0D90F-D528-9AE5-11B3-301CC253FC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5926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35197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9514C7-9355-B5A6-78AC-9DAA7B053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94B4E5C-9BA3-20F7-E468-3CC674FD38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7566169-34A4-47C4-AA50-95622FBB7F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CC8754-BCCA-386C-8151-B38A5807E0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16957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B3F334-4D81-B284-DC0D-CA48F6384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4876FE3-6336-4DB3-AD07-B0B61CE3C4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4AF3556-DB2F-1752-DE22-BFB6A5A055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6E7BD1-E3FF-FB1F-6E52-764F060C39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5864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128BD-DDF2-20F5-59C7-0E0263F815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44BDC64-4E2C-F521-7A73-3A44F403A4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056D804-12FE-FFF3-62D5-FE80849158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AF6ABB-2143-CC87-3B1E-49D045C3F1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49179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90412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81391B-C95E-78B2-91F7-399A5ECEB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A0988F9-BBD1-54E3-5030-83E3C8267C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67F5732-835A-2355-5948-FFAF7B7BFA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DD806BA-FEE2-D8D0-F4DC-F8D0C1D710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772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6607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0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55303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20531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88232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B9DC8F-46A9-97A4-5D29-40280AE27F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0EB25F5-7D3A-CA79-CAFE-1365C25D87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64179C3-45DF-7814-0878-98E96183DB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299C80-5F7E-82AD-6F3F-4D4B082EEC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0481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2.emf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9.xml"/><Relationship Id="rId5" Type="http://schemas.openxmlformats.org/officeDocument/2006/relationships/image" Target="../media/image2.emf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2.emf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2.emf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2.emf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2.emf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BFB23C3-9527-4FB0-B2F8-7A5BBFC47E95}"/>
              </a:ext>
            </a:extLst>
          </p:cNvPr>
          <p:cNvSpPr/>
          <p:nvPr userDrawn="1"/>
        </p:nvSpPr>
        <p:spPr>
          <a:xfrm>
            <a:off x="-1" y="1944000"/>
            <a:ext cx="6194419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B528F131-A2A8-464C-B543-179CC0C70C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560A9350-5159-4EDC-84BF-29BFA980BB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9BFFBEC6-3EE1-4C31-ACCC-23B00AD29043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0D03168-4FB1-458E-A052-999C15E122FB}"/>
              </a:ext>
            </a:extLst>
          </p:cNvPr>
          <p:cNvGrpSpPr/>
          <p:nvPr userDrawn="1"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7A896A77-8F21-4071-80BA-2F01575189D9}"/>
                </a:ext>
              </a:extLst>
            </p:cNvPr>
            <p:cNvGrpSpPr/>
            <p:nvPr userDrawn="1"/>
          </p:nvGrpSpPr>
          <p:grpSpPr>
            <a:xfrm>
              <a:off x="1" y="864000"/>
              <a:ext cx="6194418" cy="1080000"/>
              <a:chOff x="1" y="864000"/>
              <a:chExt cx="6194418" cy="1080000"/>
            </a:xfrm>
          </p:grpSpPr>
          <p:sp>
            <p:nvSpPr>
              <p:cNvPr id="8" name="Rechteck 7">
                <a:extLst>
                  <a:ext uri="{FF2B5EF4-FFF2-40B4-BE49-F238E27FC236}">
                    <a16:creationId xmlns:a16="http://schemas.microsoft.com/office/drawing/2014/main" id="{6B13C851-EBCD-4FB8-878E-1EFC716DA59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" y="864000"/>
                <a:ext cx="6194418" cy="10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2A29B220-E270-4BC3-9064-E95E5FD8B8F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11163" y="1127317"/>
                <a:ext cx="1619425" cy="586722"/>
              </a:xfrm>
              <a:prstGeom prst="rect">
                <a:avLst/>
              </a:prstGeom>
            </p:spPr>
          </p:pic>
        </p:grp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A742FF63-9A36-4244-8BDA-FBB13DEC1526}"/>
                </a:ext>
              </a:extLst>
            </p:cNvPr>
            <p:cNvSpPr/>
            <p:nvPr userDrawn="1"/>
          </p:nvSpPr>
          <p:spPr>
            <a:xfrm>
              <a:off x="4023647" y="999000"/>
              <a:ext cx="21543" cy="81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17A28EA4-0916-4224-B1F2-7A3D71F9DAF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141419" y="1058106"/>
              <a:ext cx="1700787" cy="4964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015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BFB23C3-9527-4FB0-B2F8-7A5BBFC47E95}"/>
              </a:ext>
            </a:extLst>
          </p:cNvPr>
          <p:cNvSpPr/>
          <p:nvPr userDrawn="1"/>
        </p:nvSpPr>
        <p:spPr>
          <a:xfrm>
            <a:off x="-1" y="1944000"/>
            <a:ext cx="6194419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B528F131-A2A8-464C-B543-179CC0C70C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  <a:endParaRPr lang="de-DE" dirty="0"/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560A9350-5159-4EDC-84BF-29BFA980BB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24DD533-6163-4110-8295-FC0CE32EFA4C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0D03168-4FB1-458E-A052-999C15E122FB}"/>
              </a:ext>
            </a:extLst>
          </p:cNvPr>
          <p:cNvGrpSpPr/>
          <p:nvPr userDrawn="1"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7A896A77-8F21-4071-80BA-2F01575189D9}"/>
                </a:ext>
              </a:extLst>
            </p:cNvPr>
            <p:cNvGrpSpPr/>
            <p:nvPr userDrawn="1"/>
          </p:nvGrpSpPr>
          <p:grpSpPr>
            <a:xfrm>
              <a:off x="1" y="864000"/>
              <a:ext cx="6194418" cy="1080000"/>
              <a:chOff x="1" y="864000"/>
              <a:chExt cx="6194418" cy="1080000"/>
            </a:xfrm>
          </p:grpSpPr>
          <p:sp>
            <p:nvSpPr>
              <p:cNvPr id="8" name="Rechteck 7">
                <a:extLst>
                  <a:ext uri="{FF2B5EF4-FFF2-40B4-BE49-F238E27FC236}">
                    <a16:creationId xmlns:a16="http://schemas.microsoft.com/office/drawing/2014/main" id="{6B13C851-EBCD-4FB8-878E-1EFC716DA59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" y="864000"/>
                <a:ext cx="6194418" cy="10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2A29B220-E270-4BC3-9064-E95E5FD8B8F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11163" y="1127317"/>
                <a:ext cx="1619425" cy="586722"/>
              </a:xfrm>
              <a:prstGeom prst="rect">
                <a:avLst/>
              </a:prstGeom>
            </p:spPr>
          </p:pic>
        </p:grp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A742FF63-9A36-4244-8BDA-FBB13DEC1526}"/>
                </a:ext>
              </a:extLst>
            </p:cNvPr>
            <p:cNvSpPr/>
            <p:nvPr userDrawn="1"/>
          </p:nvSpPr>
          <p:spPr>
            <a:xfrm>
              <a:off x="4023647" y="999000"/>
              <a:ext cx="21543" cy="81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17A28EA4-0916-4224-B1F2-7A3D71F9DAF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141419" y="1058106"/>
              <a:ext cx="1700787" cy="4964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5949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63F8DCF-649D-4C17-B334-A8361D51BB81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56DFC6-96B9-48E0-8716-9658E69D9F16}"/>
              </a:ext>
            </a:extLst>
          </p:cNvPr>
          <p:cNvSpPr/>
          <p:nvPr userDrawn="1"/>
        </p:nvSpPr>
        <p:spPr>
          <a:xfrm>
            <a:off x="0" y="800708"/>
            <a:ext cx="618542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32F0D520-F435-4AB1-8689-321332E032C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3DCFFCD0-FE96-4125-A18A-1017C8470E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ocation, 27.02.2019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391AA63-4CBA-4CD6-988F-08D6BCC328F8}"/>
              </a:ext>
            </a:extLst>
          </p:cNvPr>
          <p:cNvGrpSpPr/>
          <p:nvPr userDrawn="1"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3D6F3DAE-3931-4D35-BB44-515268B468D3}"/>
                </a:ext>
              </a:extLst>
            </p:cNvPr>
            <p:cNvGrpSpPr/>
            <p:nvPr userDrawn="1"/>
          </p:nvGrpSpPr>
          <p:grpSpPr>
            <a:xfrm>
              <a:off x="-8991" y="4687321"/>
              <a:ext cx="6194418" cy="1080000"/>
              <a:chOff x="-8991" y="4687321"/>
              <a:chExt cx="6194418" cy="1080000"/>
            </a:xfrm>
          </p:grpSpPr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AB0B91F8-FACC-49BF-854E-CFC4D0520C1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-8991" y="4687321"/>
                <a:ext cx="6194418" cy="10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0F17C3CC-824F-4ACA-B7A4-69EA0EE1F27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02171" y="4950638"/>
                <a:ext cx="1619425" cy="586722"/>
              </a:xfrm>
              <a:prstGeom prst="rect">
                <a:avLst/>
              </a:prstGeom>
            </p:spPr>
          </p:pic>
        </p:grp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BB9E67F8-9132-4370-A1F6-F09B87D82AB3}"/>
                </a:ext>
              </a:extLst>
            </p:cNvPr>
            <p:cNvSpPr/>
            <p:nvPr userDrawn="1"/>
          </p:nvSpPr>
          <p:spPr>
            <a:xfrm>
              <a:off x="4014655" y="4822321"/>
              <a:ext cx="21543" cy="81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BEE355F0-1805-4FB7-AC9F-A9D36B215C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2132427" y="4881427"/>
              <a:ext cx="1700787" cy="4964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2788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CE0B816B-A23F-42FF-9138-14B838E7ABE2}"/>
              </a:ext>
            </a:extLst>
          </p:cNvPr>
          <p:cNvSpPr/>
          <p:nvPr userDrawn="1"/>
        </p:nvSpPr>
        <p:spPr>
          <a:xfrm>
            <a:off x="5996579" y="1952716"/>
            <a:ext cx="6193834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CB85807E-FAC6-44BB-A8DE-6D6DCF38A7AE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25" name="TitelPlaz">
            <a:extLst>
              <a:ext uri="{FF2B5EF4-FFF2-40B4-BE49-F238E27FC236}">
                <a16:creationId xmlns:a16="http://schemas.microsoft.com/office/drawing/2014/main" id="{26117A9F-CF40-4C8C-A855-17D13A7595F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311230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 i="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6" name="Textplatzhalter 40">
            <a:extLst>
              <a:ext uri="{FF2B5EF4-FFF2-40B4-BE49-F238E27FC236}">
                <a16:creationId xmlns:a16="http://schemas.microsoft.com/office/drawing/2014/main" id="{7017571E-001F-4C4C-A356-A7347B3B06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11230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ocation, 27.02.2019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C931D1B-C9A9-4F3A-8D23-C462E4427FB3}"/>
              </a:ext>
            </a:extLst>
          </p:cNvPr>
          <p:cNvGrpSpPr/>
          <p:nvPr userDrawn="1"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3CEF4D-2CC1-467E-B79B-3F10E2EE7C8F}"/>
                </a:ext>
              </a:extLst>
            </p:cNvPr>
            <p:cNvGrpSpPr/>
            <p:nvPr userDrawn="1"/>
          </p:nvGrpSpPr>
          <p:grpSpPr>
            <a:xfrm>
              <a:off x="5996579" y="872716"/>
              <a:ext cx="6194418" cy="1080000"/>
              <a:chOff x="5996579" y="872716"/>
              <a:chExt cx="6194418" cy="1080000"/>
            </a:xfrm>
          </p:grpSpPr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E71035D6-0FD2-4496-8B07-424FF00A627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996579" y="872716"/>
                <a:ext cx="6194418" cy="10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3B0BC0E5-790A-417D-AD81-200783D327A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9808" y="1136032"/>
                <a:ext cx="1619425" cy="586722"/>
              </a:xfrm>
              <a:prstGeom prst="rect">
                <a:avLst/>
              </a:prstGeom>
            </p:spPr>
          </p:pic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D0C64390-860A-4B64-ADC3-161DC7673817}"/>
                </a:ext>
              </a:extLst>
            </p:cNvPr>
            <p:cNvGrpSpPr/>
            <p:nvPr userDrawn="1"/>
          </p:nvGrpSpPr>
          <p:grpSpPr>
            <a:xfrm>
              <a:off x="8145807" y="1007716"/>
              <a:ext cx="1981560" cy="810000"/>
              <a:chOff x="12400227" y="6988750"/>
              <a:chExt cx="990780" cy="405000"/>
            </a:xfrm>
          </p:grpSpPr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2454E2CD-CE87-4C0D-BFD6-4C58FD92289A}"/>
                  </a:ext>
                </a:extLst>
              </p:cNvPr>
              <p:cNvSpPr/>
              <p:nvPr/>
            </p:nvSpPr>
            <p:spPr>
              <a:xfrm>
                <a:off x="12400227" y="6988750"/>
                <a:ext cx="10772" cy="405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F7981B2B-0CAB-4B87-84C7-7FBD44222F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540613" y="7018303"/>
                <a:ext cx="850394" cy="2482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518516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3A1B19F3-6BFD-4695-8474-1B80473B438B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3A7E441-3BC4-4B39-8269-CC3CA509E27F}"/>
              </a:ext>
            </a:extLst>
          </p:cNvPr>
          <p:cNvSpPr/>
          <p:nvPr userDrawn="1"/>
        </p:nvSpPr>
        <p:spPr>
          <a:xfrm>
            <a:off x="598700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0" name="TitelPlaz">
            <a:extLst>
              <a:ext uri="{FF2B5EF4-FFF2-40B4-BE49-F238E27FC236}">
                <a16:creationId xmlns:a16="http://schemas.microsoft.com/office/drawing/2014/main" id="{C56BC0A7-F6CA-4C6B-9E6A-7362190E67D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75226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1" name="Textplatzhalter 40">
            <a:extLst>
              <a:ext uri="{FF2B5EF4-FFF2-40B4-BE49-F238E27FC236}">
                <a16:creationId xmlns:a16="http://schemas.microsoft.com/office/drawing/2014/main" id="{9A72A723-7174-43A2-8C43-7B7FBF2EC2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75226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ocation, 27.02.2019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FA7DC0E-9A14-4151-90B1-566A8420A5F2}"/>
              </a:ext>
            </a:extLst>
          </p:cNvPr>
          <p:cNvGrpSpPr/>
          <p:nvPr userDrawn="1"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7B6718DD-56A7-4FEC-A480-2AD6EBC1CBC3}"/>
                </a:ext>
              </a:extLst>
            </p:cNvPr>
            <p:cNvGrpSpPr/>
            <p:nvPr userDrawn="1"/>
          </p:nvGrpSpPr>
          <p:grpSpPr>
            <a:xfrm>
              <a:off x="5995995" y="4687321"/>
              <a:ext cx="6194418" cy="1080000"/>
              <a:chOff x="5995995" y="4687321"/>
              <a:chExt cx="6194418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9CEB421E-5C17-49A5-AD7E-8C88AC85670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995995" y="4687321"/>
                <a:ext cx="6194418" cy="10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24BEBC75-31D5-4A40-B160-F3AC7DB3B4A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8213" y="4950637"/>
                <a:ext cx="1619425" cy="586722"/>
              </a:xfrm>
              <a:prstGeom prst="rect">
                <a:avLst/>
              </a:prstGeom>
            </p:spPr>
          </p:pic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AF4BDE60-8383-4257-A55D-931F3BBE2CAD}"/>
                </a:ext>
              </a:extLst>
            </p:cNvPr>
            <p:cNvGrpSpPr/>
            <p:nvPr userDrawn="1"/>
          </p:nvGrpSpPr>
          <p:grpSpPr>
            <a:xfrm>
              <a:off x="8145223" y="4822321"/>
              <a:ext cx="1981560" cy="810000"/>
              <a:chOff x="12400227" y="6988750"/>
              <a:chExt cx="990780" cy="405000"/>
            </a:xfrm>
          </p:grpSpPr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BBFC5E4A-6C59-489A-800E-88FE8B0A2A28}"/>
                  </a:ext>
                </a:extLst>
              </p:cNvPr>
              <p:cNvSpPr/>
              <p:nvPr/>
            </p:nvSpPr>
            <p:spPr>
              <a:xfrm>
                <a:off x="12400227" y="6988750"/>
                <a:ext cx="10772" cy="405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BB65683B-63C6-4A42-B966-B6680B0759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540613" y="7018303"/>
                <a:ext cx="850394" cy="2482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935217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C811803-45C6-43AA-B7F5-E82302BCACE4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632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D301A5F7-6029-41E5-B43F-B5113980C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4018D2C-ED73-45FD-A0C7-D294C1CFA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  <a:lvl2pPr marL="719138" marR="0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/>
            </a:lvl2pPr>
            <a:lvl3pPr marL="1074738" marR="0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/>
            </a:lvl3pPr>
            <a:lvl4pPr marL="1433513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433513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8FAB4D84-99A9-4DBA-BF32-DFC6925F29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200B39A4-3799-40A8-94A0-6B1BEA3CEDD2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4134418-6EF7-4316-88C5-0030EDE8C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3348120F-F843-4245-85C0-BA4E696907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65530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8FAB4D84-99A9-4DBA-BF32-DFC6925F29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15A0589-48CC-4A4E-9B89-213C87884F71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4134418-6EF7-4316-88C5-0030EDE8C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3348120F-F843-4245-85C0-BA4E696907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3" name="Titelplatzhalter 4">
            <a:extLst>
              <a:ext uri="{FF2B5EF4-FFF2-40B4-BE49-F238E27FC236}">
                <a16:creationId xmlns:a16="http://schemas.microsoft.com/office/drawing/2014/main" id="{57DD3D5C-6477-46BC-AAB8-D696AF1094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55838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D301A5F7-6029-41E5-B43F-B5113980C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7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4018D2C-ED73-45FD-A0C7-D294C1CFA3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519"/>
              </a:spcBef>
              <a:defRPr/>
            </a:lvl1pPr>
          </a:lstStyle>
          <a:p>
            <a:pPr marL="289373" marR="0" lvl="0" indent="-289373" algn="l" defTabSz="77166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Wingdings"/>
              <a:buChar char="n"/>
              <a:tabLst/>
              <a:defRPr/>
            </a:pPr>
            <a:r>
              <a:rPr kumimoji="0" lang="de-DE" sz="168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606881" marR="0" lvl="1" indent="-305450" algn="l" defTabSz="771662" rtl="0" eaLnBrk="1" fontAlgn="auto" latinLnBrk="0" hangingPunct="1">
              <a:lnSpc>
                <a:spcPct val="110000"/>
              </a:lnSpc>
              <a:spcBef>
                <a:spcPts val="506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168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906971" marR="0" lvl="2" indent="-300091" algn="l" defTabSz="771662" rtl="0" eaLnBrk="1" fontAlgn="auto" latinLnBrk="0" hangingPunct="1">
              <a:lnSpc>
                <a:spcPct val="110000"/>
              </a:lnSpc>
              <a:spcBef>
                <a:spcPts val="253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168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209742" marR="0" lvl="3" indent="-302770" algn="l" defTabSz="77166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168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8FAB4D84-99A9-4DBA-BF32-DFC6925F29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760"/>
            </a:lvl1pPr>
          </a:lstStyle>
          <a:p>
            <a:fld id="{BB434A17-75DF-4E20-B650-18523D496428}" type="datetime1">
              <a:rPr lang="de-DE" smtClean="0"/>
              <a:t>27.02.2026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4134418-6EF7-4316-88C5-0030EDE8C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7999" y="6516112"/>
            <a:ext cx="3364270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76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3348120F-F843-4245-85C0-BA4E696907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76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849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8FAB4D84-99A9-4DBA-BF32-DFC6925F29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760"/>
            </a:lvl1pPr>
          </a:lstStyle>
          <a:p>
            <a:fld id="{BCE4397B-C26A-46EC-9CD8-37B945C8AA2C}" type="datetime1">
              <a:rPr lang="de-DE" smtClean="0"/>
              <a:t>27.02.2026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4134418-6EF7-4316-88C5-0030EDE8C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7999" y="6516112"/>
            <a:ext cx="3364270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76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3348120F-F843-4245-85C0-BA4E696907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76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3" name="Titelplatzhalter 4">
            <a:extLst>
              <a:ext uri="{FF2B5EF4-FFF2-40B4-BE49-F238E27FC236}">
                <a16:creationId xmlns:a16="http://schemas.microsoft.com/office/drawing/2014/main" id="{57DD3D5C-6477-46BC-AAB8-D696AF1094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7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76338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6233DE4-A2EF-4CF1-8A01-72AB73EB9DC1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56DFC6-96B9-48E0-8716-9658E69D9F16}"/>
              </a:ext>
            </a:extLst>
          </p:cNvPr>
          <p:cNvSpPr/>
          <p:nvPr userDrawn="1"/>
        </p:nvSpPr>
        <p:spPr>
          <a:xfrm>
            <a:off x="0" y="800708"/>
            <a:ext cx="618542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32F0D520-F435-4AB1-8689-321332E032C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3DCFFCD0-FE96-4125-A18A-1017C8470E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391AA63-4CBA-4CD6-988F-08D6BCC328F8}"/>
              </a:ext>
            </a:extLst>
          </p:cNvPr>
          <p:cNvGrpSpPr/>
          <p:nvPr userDrawn="1"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3D6F3DAE-3931-4D35-BB44-515268B468D3}"/>
                </a:ext>
              </a:extLst>
            </p:cNvPr>
            <p:cNvGrpSpPr/>
            <p:nvPr userDrawn="1"/>
          </p:nvGrpSpPr>
          <p:grpSpPr>
            <a:xfrm>
              <a:off x="-8991" y="4687321"/>
              <a:ext cx="6194418" cy="1080000"/>
              <a:chOff x="-8991" y="4687321"/>
              <a:chExt cx="6194418" cy="1080000"/>
            </a:xfrm>
          </p:grpSpPr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AB0B91F8-FACC-49BF-854E-CFC4D0520C1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-8991" y="4687321"/>
                <a:ext cx="6194418" cy="10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0F17C3CC-824F-4ACA-B7A4-69EA0EE1F27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02171" y="4950638"/>
                <a:ext cx="1619425" cy="586722"/>
              </a:xfrm>
              <a:prstGeom prst="rect">
                <a:avLst/>
              </a:prstGeom>
            </p:spPr>
          </p:pic>
        </p:grp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BB9E67F8-9132-4370-A1F6-F09B87D82AB3}"/>
                </a:ext>
              </a:extLst>
            </p:cNvPr>
            <p:cNvSpPr/>
            <p:nvPr userDrawn="1"/>
          </p:nvSpPr>
          <p:spPr>
            <a:xfrm>
              <a:off x="4014655" y="4822321"/>
              <a:ext cx="21543" cy="81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BEE355F0-1805-4FB7-AC9F-A9D36B215C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2132427" y="4881427"/>
              <a:ext cx="1700787" cy="4964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9096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CE0B816B-A23F-42FF-9138-14B838E7ABE2}"/>
              </a:ext>
            </a:extLst>
          </p:cNvPr>
          <p:cNvSpPr/>
          <p:nvPr userDrawn="1"/>
        </p:nvSpPr>
        <p:spPr>
          <a:xfrm>
            <a:off x="5996579" y="1952716"/>
            <a:ext cx="6193834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3DB9D6F9-A622-4738-9A37-2685FFA43C61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25" name="TitelPlaz">
            <a:extLst>
              <a:ext uri="{FF2B5EF4-FFF2-40B4-BE49-F238E27FC236}">
                <a16:creationId xmlns:a16="http://schemas.microsoft.com/office/drawing/2014/main" id="{26117A9F-CF40-4C8C-A855-17D13A7595F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311230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 i="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6" name="Textplatzhalter 40">
            <a:extLst>
              <a:ext uri="{FF2B5EF4-FFF2-40B4-BE49-F238E27FC236}">
                <a16:creationId xmlns:a16="http://schemas.microsoft.com/office/drawing/2014/main" id="{7017571E-001F-4C4C-A356-A7347B3B06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11230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C931D1B-C9A9-4F3A-8D23-C462E4427FB3}"/>
              </a:ext>
            </a:extLst>
          </p:cNvPr>
          <p:cNvGrpSpPr/>
          <p:nvPr userDrawn="1"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3CEF4D-2CC1-467E-B79B-3F10E2EE7C8F}"/>
                </a:ext>
              </a:extLst>
            </p:cNvPr>
            <p:cNvGrpSpPr/>
            <p:nvPr userDrawn="1"/>
          </p:nvGrpSpPr>
          <p:grpSpPr>
            <a:xfrm>
              <a:off x="5996579" y="872716"/>
              <a:ext cx="6194418" cy="1080000"/>
              <a:chOff x="5996579" y="872716"/>
              <a:chExt cx="6194418" cy="1080000"/>
            </a:xfrm>
          </p:grpSpPr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E71035D6-0FD2-4496-8B07-424FF00A627E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996579" y="872716"/>
                <a:ext cx="6194418" cy="10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3B0BC0E5-790A-417D-AD81-200783D327A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9808" y="1136032"/>
                <a:ext cx="1619425" cy="586722"/>
              </a:xfrm>
              <a:prstGeom prst="rect">
                <a:avLst/>
              </a:prstGeom>
            </p:spPr>
          </p:pic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D0C64390-860A-4B64-ADC3-161DC7673817}"/>
                </a:ext>
              </a:extLst>
            </p:cNvPr>
            <p:cNvGrpSpPr/>
            <p:nvPr userDrawn="1"/>
          </p:nvGrpSpPr>
          <p:grpSpPr>
            <a:xfrm>
              <a:off x="8145807" y="1007716"/>
              <a:ext cx="1981560" cy="810000"/>
              <a:chOff x="12400227" y="6988750"/>
              <a:chExt cx="990780" cy="405000"/>
            </a:xfrm>
          </p:grpSpPr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2454E2CD-CE87-4C0D-BFD6-4C58FD92289A}"/>
                  </a:ext>
                </a:extLst>
              </p:cNvPr>
              <p:cNvSpPr/>
              <p:nvPr/>
            </p:nvSpPr>
            <p:spPr>
              <a:xfrm>
                <a:off x="12400227" y="6988750"/>
                <a:ext cx="10772" cy="405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F7981B2B-0CAB-4B87-84C7-7FBD44222F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540613" y="7018303"/>
                <a:ext cx="850394" cy="2482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830482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3B10298-51E5-4341-B368-ED197B504EC8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3A7E441-3BC4-4B39-8269-CC3CA509E27F}"/>
              </a:ext>
            </a:extLst>
          </p:cNvPr>
          <p:cNvSpPr/>
          <p:nvPr userDrawn="1"/>
        </p:nvSpPr>
        <p:spPr>
          <a:xfrm>
            <a:off x="598700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0" name="TitelPlaz">
            <a:extLst>
              <a:ext uri="{FF2B5EF4-FFF2-40B4-BE49-F238E27FC236}">
                <a16:creationId xmlns:a16="http://schemas.microsoft.com/office/drawing/2014/main" id="{C56BC0A7-F6CA-4C6B-9E6A-7362190E67D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75226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1" name="Textplatzhalter 40">
            <a:extLst>
              <a:ext uri="{FF2B5EF4-FFF2-40B4-BE49-F238E27FC236}">
                <a16:creationId xmlns:a16="http://schemas.microsoft.com/office/drawing/2014/main" id="{9A72A723-7174-43A2-8C43-7B7FBF2EC2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75226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FA7DC0E-9A14-4151-90B1-566A8420A5F2}"/>
              </a:ext>
            </a:extLst>
          </p:cNvPr>
          <p:cNvGrpSpPr/>
          <p:nvPr userDrawn="1"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7B6718DD-56A7-4FEC-A480-2AD6EBC1CBC3}"/>
                </a:ext>
              </a:extLst>
            </p:cNvPr>
            <p:cNvGrpSpPr/>
            <p:nvPr userDrawn="1"/>
          </p:nvGrpSpPr>
          <p:grpSpPr>
            <a:xfrm>
              <a:off x="5995995" y="4687321"/>
              <a:ext cx="6194418" cy="1080000"/>
              <a:chOff x="5995995" y="4687321"/>
              <a:chExt cx="6194418" cy="108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9CEB421E-5C17-49A5-AD7E-8C88AC85670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995995" y="4687321"/>
                <a:ext cx="6194418" cy="10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24BEBC75-31D5-4A40-B160-F3AC7DB3B4A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8213" y="4950637"/>
                <a:ext cx="1619425" cy="586722"/>
              </a:xfrm>
              <a:prstGeom prst="rect">
                <a:avLst/>
              </a:prstGeom>
            </p:spPr>
          </p:pic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AF4BDE60-8383-4257-A55D-931F3BBE2CAD}"/>
                </a:ext>
              </a:extLst>
            </p:cNvPr>
            <p:cNvGrpSpPr/>
            <p:nvPr userDrawn="1"/>
          </p:nvGrpSpPr>
          <p:grpSpPr>
            <a:xfrm>
              <a:off x="8145223" y="4822321"/>
              <a:ext cx="1981560" cy="810000"/>
              <a:chOff x="12400227" y="6988750"/>
              <a:chExt cx="990780" cy="405000"/>
            </a:xfrm>
          </p:grpSpPr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BBFC5E4A-6C59-489A-800E-88FE8B0A2A28}"/>
                  </a:ext>
                </a:extLst>
              </p:cNvPr>
              <p:cNvSpPr/>
              <p:nvPr/>
            </p:nvSpPr>
            <p:spPr>
              <a:xfrm>
                <a:off x="12400227" y="6988750"/>
                <a:ext cx="10772" cy="405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BB65683B-63C6-4A42-B966-B6680B0759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540613" y="7018303"/>
                <a:ext cx="850394" cy="2482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859609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08617829-FB5A-4BA3-8450-A5AFAFDFD6B0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31730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D301A5F7-6029-41E5-B43F-B5113980C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4018D2C-ED73-45FD-A0C7-D294C1CFA3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Wingdings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8FAB4D84-99A9-4DBA-BF32-DFC6925F29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7B9244B4-EBD4-4721-998F-365B53BE2DC4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4134418-6EF7-4316-88C5-0030EDE8C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3348120F-F843-4245-85C0-BA4E696907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0893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8FAB4D84-99A9-4DBA-BF32-DFC6925F29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79273DA3-22D6-453C-A69B-6496A80C1455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4134418-6EF7-4316-88C5-0030EDE8C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3348120F-F843-4245-85C0-BA4E696907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3" name="Titelplatzhalter 4">
            <a:extLst>
              <a:ext uri="{FF2B5EF4-FFF2-40B4-BE49-F238E27FC236}">
                <a16:creationId xmlns:a16="http://schemas.microsoft.com/office/drawing/2014/main" id="{57DD3D5C-6477-46BC-AAB8-D696AF1094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1230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D3B13926-4F71-4266-9EFA-B75C841F9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08617829-FB5A-4BA3-8450-A5AFAFDFD6B0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4C479917-0478-4656-A0DB-AAF8DC146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84B19B80-D892-4295-AC04-7EA957EAB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2849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86A771F7-DA3A-4E04-A429-A94A91545B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8648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emf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6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2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9BB8862D-740D-40BD-B7AD-13D37D42FE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CD2654FD-2DB0-41A8-B182-0847E11720B1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EA3AD257-37B0-4BAD-AE8D-9F4898343D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0EADA5DB-E407-4DDB-8A26-1F7D79928D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2969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</p:sldLayoutIdLst>
  <p:hf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383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41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31B8A303-AB4F-4705-A583-96A90BF7CE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11A86DF-095E-46F1-A7E8-2E290E958C32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54EE710C-E5BA-46F9-B748-F9C84A877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4A9C32E3-1407-426B-883E-3C22973F5D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BB84401-0057-4617-BEE4-EABFC6D85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011E750-876E-4273-8DF0-12E19CC55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Wingdings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2900B40-2DA7-43B9-A862-6AED61E94552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601200" y="6091200"/>
            <a:chExt cx="2592000" cy="540000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7322FEA0-4475-4209-B55F-C453324DDB44}"/>
                </a:ext>
              </a:extLst>
            </p:cNvPr>
            <p:cNvGrpSpPr/>
            <p:nvPr userDrawn="1"/>
          </p:nvGrpSpPr>
          <p:grpSpPr>
            <a:xfrm>
              <a:off x="9601200" y="6091200"/>
              <a:ext cx="2592000" cy="540000"/>
              <a:chOff x="9597610" y="6092575"/>
              <a:chExt cx="2592000" cy="540000"/>
            </a:xfrm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8791A530-2E73-4728-B785-E01D3CF87AF3}"/>
                  </a:ext>
                </a:extLst>
              </p:cNvPr>
              <p:cNvSpPr/>
              <p:nvPr userDrawn="1"/>
            </p:nvSpPr>
            <p:spPr>
              <a:xfrm>
                <a:off x="9597610" y="6092575"/>
                <a:ext cx="2592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256A4010-026D-4EE1-A10F-E59268448C1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30810" y="6229375"/>
                <a:ext cx="808391" cy="292882"/>
              </a:xfrm>
              <a:prstGeom prst="rect">
                <a:avLst/>
              </a:prstGeom>
            </p:spPr>
          </p:pic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DAAE541A-BB2B-4FB2-8395-65462F6B8A7B}"/>
                </a:ext>
              </a:extLst>
            </p:cNvPr>
            <p:cNvGrpSpPr/>
            <p:nvPr/>
          </p:nvGrpSpPr>
          <p:grpSpPr>
            <a:xfrm>
              <a:off x="10675814" y="6158700"/>
              <a:ext cx="990780" cy="405000"/>
              <a:chOff x="12400227" y="6988750"/>
              <a:chExt cx="990780" cy="405000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D6E2A08C-4C7A-421B-84CB-4172E49E37B0}"/>
                  </a:ext>
                </a:extLst>
              </p:cNvPr>
              <p:cNvSpPr/>
              <p:nvPr/>
            </p:nvSpPr>
            <p:spPr>
              <a:xfrm>
                <a:off x="12400227" y="6988750"/>
                <a:ext cx="10772" cy="405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C9E9182B-94FE-4B18-98B9-73B98EA714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540613" y="7018303"/>
                <a:ext cx="850394" cy="2482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524440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F39500"/>
        </a:buClr>
        <a:buSzTx/>
        <a:buFont typeface="Wingdings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F39500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F39500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513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F39500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 userDrawn="1">
          <p15:clr>
            <a:srgbClr val="F26B43"/>
          </p15:clr>
        </p15:guide>
        <p15:guide id="2" orient="horz" pos="4042" userDrawn="1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31B8A303-AB4F-4705-A583-96A90BF7CE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11A86DF-095E-46F1-A7E8-2E290E958C32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54EE710C-E5BA-46F9-B748-F9C84A877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  <a:endParaRPr lang="de-DE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4A9C32E3-1407-426B-883E-3C22973F5D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BB84401-0057-4617-BEE4-EABFC6D85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011E750-876E-4273-8DF0-12E19CC55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Wingdings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grpSp>
        <p:nvGrpSpPr>
          <p:cNvPr id="3" name="Gruppieren 2" hidden="1">
            <a:extLst>
              <a:ext uri="{FF2B5EF4-FFF2-40B4-BE49-F238E27FC236}">
                <a16:creationId xmlns:a16="http://schemas.microsoft.com/office/drawing/2014/main" id="{62900B40-2DA7-43B9-A862-6AED61E94552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601200" y="6091200"/>
            <a:chExt cx="2592000" cy="540000"/>
          </a:xfrm>
        </p:grpSpPr>
        <p:grpSp>
          <p:nvGrpSpPr>
            <p:cNvPr id="9" name="Gruppieren 8" hidden="1">
              <a:extLst>
                <a:ext uri="{FF2B5EF4-FFF2-40B4-BE49-F238E27FC236}">
                  <a16:creationId xmlns:a16="http://schemas.microsoft.com/office/drawing/2014/main" id="{7322FEA0-4475-4209-B55F-C453324DDB44}"/>
                </a:ext>
              </a:extLst>
            </p:cNvPr>
            <p:cNvGrpSpPr/>
            <p:nvPr userDrawn="1"/>
          </p:nvGrpSpPr>
          <p:grpSpPr>
            <a:xfrm>
              <a:off x="9601200" y="6091200"/>
              <a:ext cx="2592000" cy="540000"/>
              <a:chOff x="9597610" y="6092575"/>
              <a:chExt cx="2592000" cy="540000"/>
            </a:xfrm>
          </p:grpSpPr>
          <p:sp>
            <p:nvSpPr>
              <p:cNvPr id="10" name="Rechteck 9" hidden="1">
                <a:extLst>
                  <a:ext uri="{FF2B5EF4-FFF2-40B4-BE49-F238E27FC236}">
                    <a16:creationId xmlns:a16="http://schemas.microsoft.com/office/drawing/2014/main" id="{8791A530-2E73-4728-B785-E01D3CF87AF3}"/>
                  </a:ext>
                </a:extLst>
              </p:cNvPr>
              <p:cNvSpPr/>
              <p:nvPr userDrawn="1"/>
            </p:nvSpPr>
            <p:spPr>
              <a:xfrm>
                <a:off x="9597610" y="6092575"/>
                <a:ext cx="2592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1" name="Grafik 10" hidden="1">
                <a:extLst>
                  <a:ext uri="{FF2B5EF4-FFF2-40B4-BE49-F238E27FC236}">
                    <a16:creationId xmlns:a16="http://schemas.microsoft.com/office/drawing/2014/main" id="{256A4010-026D-4EE1-A10F-E59268448C1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30810" y="6229375"/>
                <a:ext cx="808391" cy="292882"/>
              </a:xfrm>
              <a:prstGeom prst="rect">
                <a:avLst/>
              </a:prstGeom>
            </p:spPr>
          </p:pic>
        </p:grpSp>
        <p:grpSp>
          <p:nvGrpSpPr>
            <p:cNvPr id="19" name="Gruppieren 18" hidden="1">
              <a:extLst>
                <a:ext uri="{FF2B5EF4-FFF2-40B4-BE49-F238E27FC236}">
                  <a16:creationId xmlns:a16="http://schemas.microsoft.com/office/drawing/2014/main" id="{DAAE541A-BB2B-4FB2-8395-65462F6B8A7B}"/>
                </a:ext>
              </a:extLst>
            </p:cNvPr>
            <p:cNvGrpSpPr/>
            <p:nvPr/>
          </p:nvGrpSpPr>
          <p:grpSpPr>
            <a:xfrm>
              <a:off x="10675814" y="6158700"/>
              <a:ext cx="990780" cy="405000"/>
              <a:chOff x="12400227" y="6988750"/>
              <a:chExt cx="990780" cy="405000"/>
            </a:xfrm>
          </p:grpSpPr>
          <p:sp>
            <p:nvSpPr>
              <p:cNvPr id="20" name="Rechteck 19" hidden="1">
                <a:extLst>
                  <a:ext uri="{FF2B5EF4-FFF2-40B4-BE49-F238E27FC236}">
                    <a16:creationId xmlns:a16="http://schemas.microsoft.com/office/drawing/2014/main" id="{D6E2A08C-4C7A-421B-84CB-4172E49E37B0}"/>
                  </a:ext>
                </a:extLst>
              </p:cNvPr>
              <p:cNvSpPr/>
              <p:nvPr/>
            </p:nvSpPr>
            <p:spPr>
              <a:xfrm>
                <a:off x="12400227" y="6988750"/>
                <a:ext cx="10772" cy="405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1" name="Grafik 20" hidden="1">
                <a:extLst>
                  <a:ext uri="{FF2B5EF4-FFF2-40B4-BE49-F238E27FC236}">
                    <a16:creationId xmlns:a16="http://schemas.microsoft.com/office/drawing/2014/main" id="{C9E9182B-94FE-4B18-98B9-73B98EA714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540613" y="7018303"/>
                <a:ext cx="850394" cy="2482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454151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F39500"/>
        </a:buClr>
        <a:buSzTx/>
        <a:buFont typeface="Wingdings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F39500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F39500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513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F39500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30375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9BB8862D-740D-40BD-B7AD-13D37D42FE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07697CB-5D02-4559-8DE2-CD0D725BF096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EA3AD257-37B0-4BAD-AE8D-9F4898343D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0EADA5DB-E407-4DDB-8A26-1F7D79928D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2309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</p:sldLayoutIdLst>
  <p:hf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143">
          <p15:clr>
            <a:srgbClr val="F26B43"/>
          </p15:clr>
        </p15:guide>
        <p15:guide id="3" pos="7536">
          <p15:clr>
            <a:srgbClr val="F26B43"/>
          </p15:clr>
        </p15:guide>
        <p15:guide id="4" orient="horz" pos="3838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417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4B5259-BBE4-431D-BD88-49716790D9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4B5259-BBE4-431D-BD88-49716790D9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2664722-3493-4A91-AAAD-72E05BDCBB4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31B8A303-AB4F-4705-A583-96A90BF7CE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E77B2B37-F7EC-41C5-AEA4-D492E7D2A163}" type="datetime1">
              <a:rPr lang="en-US" smtClean="0"/>
              <a:t>2/27/2026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54EE710C-E5BA-46F9-B748-F9C84A877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template for Jointed LT meeting </a:t>
            </a:r>
            <a:endParaRPr lang="de-DE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4A9C32E3-1407-426B-883E-3C22973F5D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BB84401-0057-4617-BEE4-EABFC6D85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de-DE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011E750-876E-4273-8DF0-12E19CC55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433513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2900B40-2DA7-43B9-A862-6AED61E94552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601200" y="6091200"/>
            <a:chExt cx="2592000" cy="540000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7322FEA0-4475-4209-B55F-C453324DDB44}"/>
                </a:ext>
              </a:extLst>
            </p:cNvPr>
            <p:cNvGrpSpPr/>
            <p:nvPr userDrawn="1"/>
          </p:nvGrpSpPr>
          <p:grpSpPr>
            <a:xfrm>
              <a:off x="9601200" y="6091200"/>
              <a:ext cx="2592000" cy="540000"/>
              <a:chOff x="9597610" y="6092575"/>
              <a:chExt cx="2592000" cy="540000"/>
            </a:xfrm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8791A530-2E73-4728-B785-E01D3CF87AF3}"/>
                  </a:ext>
                </a:extLst>
              </p:cNvPr>
              <p:cNvSpPr/>
              <p:nvPr userDrawn="1"/>
            </p:nvSpPr>
            <p:spPr>
              <a:xfrm>
                <a:off x="9597610" y="6092575"/>
                <a:ext cx="2592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256A4010-026D-4EE1-A10F-E59268448C1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30810" y="6229375"/>
                <a:ext cx="808391" cy="292882"/>
              </a:xfrm>
              <a:prstGeom prst="rect">
                <a:avLst/>
              </a:prstGeom>
            </p:spPr>
          </p:pic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DAAE541A-BB2B-4FB2-8395-65462F6B8A7B}"/>
                </a:ext>
              </a:extLst>
            </p:cNvPr>
            <p:cNvGrpSpPr/>
            <p:nvPr/>
          </p:nvGrpSpPr>
          <p:grpSpPr>
            <a:xfrm>
              <a:off x="10675814" y="6158700"/>
              <a:ext cx="990780" cy="405000"/>
              <a:chOff x="12400227" y="6988750"/>
              <a:chExt cx="990780" cy="405000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D6E2A08C-4C7A-421B-84CB-4172E49E37B0}"/>
                  </a:ext>
                </a:extLst>
              </p:cNvPr>
              <p:cNvSpPr/>
              <p:nvPr/>
            </p:nvSpPr>
            <p:spPr>
              <a:xfrm>
                <a:off x="12400227" y="6988750"/>
                <a:ext cx="10772" cy="405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C9E9182B-94FE-4B18-98B9-73B98EA714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2540613" y="7018303"/>
                <a:ext cx="850394" cy="2482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536051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F39500"/>
        </a:buClr>
        <a:buSzTx/>
        <a:buFont typeface="Wingdings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F39500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F39500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513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F39500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31B8A303-AB4F-4705-A583-96A90BF7CE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760"/>
            </a:lvl1pPr>
          </a:lstStyle>
          <a:p>
            <a:fld id="{90D6E2E8-7823-4327-84B7-D8B40E1106E2}" type="datetime1">
              <a:rPr lang="de-DE" smtClean="0"/>
              <a:t>27.02.2026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54EE710C-E5BA-46F9-B748-F9C84A877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7999" y="6516112"/>
            <a:ext cx="3364270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76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4A9C32E3-1407-426B-883E-3C22973F5D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76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BB84401-0057-4617-BEE4-EABFC6D85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7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011E750-876E-4273-8DF0-12E19CC55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89373" marR="0" lvl="0" indent="-289373" algn="l" defTabSz="77166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Wingdings"/>
              <a:buChar char="n"/>
              <a:tabLst/>
              <a:defRPr/>
            </a:pPr>
            <a:r>
              <a:rPr kumimoji="0" lang="de-DE" sz="168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606881" marR="0" lvl="1" indent="-305450" algn="l" defTabSz="771662" rtl="0" eaLnBrk="1" fontAlgn="auto" latinLnBrk="0" hangingPunct="1">
              <a:lnSpc>
                <a:spcPct val="110000"/>
              </a:lnSpc>
              <a:spcBef>
                <a:spcPts val="506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168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906971" marR="0" lvl="2" indent="-300091" algn="l" defTabSz="771662" rtl="0" eaLnBrk="1" fontAlgn="auto" latinLnBrk="0" hangingPunct="1">
              <a:lnSpc>
                <a:spcPct val="110000"/>
              </a:lnSpc>
              <a:spcBef>
                <a:spcPts val="253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168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209742" marR="0" lvl="3" indent="-302770" algn="l" defTabSz="77166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168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grpSp>
        <p:nvGrpSpPr>
          <p:cNvPr id="16" name="Gruppieren 8">
            <a:extLst>
              <a:ext uri="{FF2B5EF4-FFF2-40B4-BE49-F238E27FC236}">
                <a16:creationId xmlns:a16="http://schemas.microsoft.com/office/drawing/2014/main" id="{9F875AE2-6CB1-4B86-9A20-1445365AAEAB}"/>
              </a:ext>
            </a:extLst>
          </p:cNvPr>
          <p:cNvGrpSpPr/>
          <p:nvPr userDrawn="1"/>
        </p:nvGrpSpPr>
        <p:grpSpPr>
          <a:xfrm>
            <a:off x="9597611" y="6092575"/>
            <a:ext cx="2592000" cy="540000"/>
            <a:chOff x="9597610" y="6092575"/>
            <a:chExt cx="2592000" cy="540000"/>
          </a:xfrm>
        </p:grpSpPr>
        <p:sp>
          <p:nvSpPr>
            <p:cNvPr id="17" name="Rechteck 9">
              <a:extLst>
                <a:ext uri="{FF2B5EF4-FFF2-40B4-BE49-F238E27FC236}">
                  <a16:creationId xmlns:a16="http://schemas.microsoft.com/office/drawing/2014/main" id="{30CB800A-1499-4492-B56A-F16A6114260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19"/>
            </a:p>
          </p:txBody>
        </p:sp>
        <p:pic>
          <p:nvPicPr>
            <p:cNvPr id="19" name="Grafik 10">
              <a:extLst>
                <a:ext uri="{FF2B5EF4-FFF2-40B4-BE49-F238E27FC236}">
                  <a16:creationId xmlns:a16="http://schemas.microsoft.com/office/drawing/2014/main" id="{DF9D0601-5BC8-4700-A553-29A93BB286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0304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</p:sldLayoutIdLst>
  <p:hf hdr="0" ftr="0" dt="0"/>
  <p:txStyles>
    <p:titleStyle>
      <a:lvl1pPr algn="l" defTabSz="771585" rtl="0" eaLnBrk="1" latinLnBrk="0" hangingPunct="1">
        <a:lnSpc>
          <a:spcPct val="100000"/>
        </a:lnSpc>
        <a:spcBef>
          <a:spcPts val="93"/>
        </a:spcBef>
        <a:spcAft>
          <a:spcPts val="93"/>
        </a:spcAft>
        <a:buNone/>
        <a:defRPr sz="2363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89373" marR="0" indent="-289373" algn="l" defTabSz="771662" rtl="0" eaLnBrk="1" fontAlgn="auto" latinLnBrk="0" hangingPunct="1">
        <a:lnSpc>
          <a:spcPct val="110000"/>
        </a:lnSpc>
        <a:spcBef>
          <a:spcPts val="1519"/>
        </a:spcBef>
        <a:spcAft>
          <a:spcPts val="0"/>
        </a:spcAft>
        <a:buClr>
          <a:srgbClr val="F39500"/>
        </a:buClr>
        <a:buSzTx/>
        <a:buFont typeface="Wingdings"/>
        <a:buChar char="n"/>
        <a:tabLst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06881" marR="0" indent="-305450" algn="l" defTabSz="771662" rtl="0" eaLnBrk="1" fontAlgn="auto" latinLnBrk="0" hangingPunct="1">
        <a:lnSpc>
          <a:spcPct val="110000"/>
        </a:lnSpc>
        <a:spcBef>
          <a:spcPts val="506"/>
        </a:spcBef>
        <a:spcAft>
          <a:spcPts val="0"/>
        </a:spcAft>
        <a:buClr>
          <a:srgbClr val="F39500"/>
        </a:buClr>
        <a:buSzTx/>
        <a:buFont typeface="Wingdings 3" panose="05040102010807070707" pitchFamily="18" charset="2"/>
        <a:buChar char=""/>
        <a:tabLst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6971" marR="0" indent="-300091" algn="l" defTabSz="771662" rtl="0" eaLnBrk="1" fontAlgn="auto" latinLnBrk="0" hangingPunct="1">
        <a:lnSpc>
          <a:spcPct val="110000"/>
        </a:lnSpc>
        <a:spcBef>
          <a:spcPts val="253"/>
        </a:spcBef>
        <a:spcAft>
          <a:spcPts val="0"/>
        </a:spcAft>
        <a:buClr>
          <a:srgbClr val="F39500"/>
        </a:buClr>
        <a:buSzTx/>
        <a:buFont typeface="Arial" panose="020B0604020202020204" pitchFamily="34" charset="0"/>
        <a:buChar char="●"/>
        <a:tabLst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209742" marR="0" indent="-302770" algn="l" defTabSz="771662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F39500"/>
        </a:buClr>
        <a:buSzTx/>
        <a:buFont typeface="Arial" panose="020B0604020202020204" pitchFamily="34" charset="0"/>
        <a:buChar char="−"/>
        <a:tabLst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70019" indent="-224792" algn="l" defTabSz="771585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755812" indent="-224792" algn="l" defTabSz="771585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141604" indent="-224792" algn="l" defTabSz="771585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527396" indent="-224792" algn="l" defTabSz="771585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2913189" indent="-224792" algn="l" defTabSz="771585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1688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1pPr>
      <a:lvl2pPr marL="385792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2pPr>
      <a:lvl3pPr marL="771585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3pPr>
      <a:lvl4pPr marL="1157378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1543170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5pPr>
      <a:lvl6pPr marL="1928962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6pPr>
      <a:lvl7pPr marL="2314755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7pPr>
      <a:lvl8pPr marL="2700548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8pPr>
      <a:lvl9pPr marL="3086340" algn="l" defTabSz="771585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3.xml"/><Relationship Id="rId7" Type="http://schemas.openxmlformats.org/officeDocument/2006/relationships/image" Target="../media/image6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33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6" Type="http://schemas.openxmlformats.org/officeDocument/2006/relationships/image" Target="../media/image36.JPG"/><Relationship Id="rId5" Type="http://schemas.openxmlformats.org/officeDocument/2006/relationships/image" Target="../media/image6.emf"/><Relationship Id="rId10" Type="http://schemas.openxmlformats.org/officeDocument/2006/relationships/image" Target="../media/image40.JP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9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2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Relationship Id="rId6" Type="http://schemas.openxmlformats.org/officeDocument/2006/relationships/image" Target="../media/image41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4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6" Type="http://schemas.openxmlformats.org/officeDocument/2006/relationships/image" Target="../media/image4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6" Type="http://schemas.openxmlformats.org/officeDocument/2006/relationships/hyperlink" Target="https://www.nunhems.com/dam/jcr:ceae196f-e87c-3216-97c6-6f9dd2205d42/nunhems/www/iberia/landing-green-queen/ES_ARA_Dossier_LSL_okis.pdf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51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Relationship Id="rId6" Type="http://schemas.openxmlformats.org/officeDocument/2006/relationships/image" Target="../media/image50.jpg"/><Relationship Id="rId5" Type="http://schemas.openxmlformats.org/officeDocument/2006/relationships/image" Target="../media/image6.emf"/><Relationship Id="rId10" Type="http://schemas.openxmlformats.org/officeDocument/2006/relationships/image" Target="../media/image54.jp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3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9.xml"/><Relationship Id="rId6" Type="http://schemas.openxmlformats.org/officeDocument/2006/relationships/image" Target="../media/image5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6" Type="http://schemas.openxmlformats.org/officeDocument/2006/relationships/image" Target="../media/image5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2.xml"/><Relationship Id="rId6" Type="http://schemas.openxmlformats.org/officeDocument/2006/relationships/image" Target="../media/image5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6" Type="http://schemas.openxmlformats.org/officeDocument/2006/relationships/image" Target="../media/image6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video" Target="../media/media1.mp4"/><Relationship Id="rId7" Type="http://schemas.openxmlformats.org/officeDocument/2006/relationships/image" Target="../media/image6.emf"/><Relationship Id="rId2" Type="http://schemas.microsoft.com/office/2007/relationships/media" Target="../media/media1.mp4"/><Relationship Id="rId1" Type="http://schemas.openxmlformats.org/officeDocument/2006/relationships/tags" Target="../tags/tag34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7.pn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5.xml"/><Relationship Id="rId6" Type="http://schemas.openxmlformats.org/officeDocument/2006/relationships/image" Target="../media/image6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4.png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6" Type="http://schemas.openxmlformats.org/officeDocument/2006/relationships/image" Target="../media/image7.png"/><Relationship Id="rId11" Type="http://schemas.openxmlformats.org/officeDocument/2006/relationships/image" Target="../media/image1.png"/><Relationship Id="rId5" Type="http://schemas.openxmlformats.org/officeDocument/2006/relationships/image" Target="../media/image6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pngimg.com/download/34501" TargetMode="External"/><Relationship Id="rId13" Type="http://schemas.openxmlformats.org/officeDocument/2006/relationships/image" Target="../media/image23.jp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11" Type="http://schemas.openxmlformats.org/officeDocument/2006/relationships/image" Target="../media/image21.png"/><Relationship Id="rId5" Type="http://schemas.openxmlformats.org/officeDocument/2006/relationships/image" Target="../media/image6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9.png"/><Relationship Id="rId14" Type="http://schemas.openxmlformats.org/officeDocument/2006/relationships/image" Target="../media/image24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30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6C6551-10F2-4D29-A7CE-DD10315A561F}"/>
              </a:ext>
            </a:extLst>
          </p:cNvPr>
          <p:cNvGrpSpPr/>
          <p:nvPr/>
        </p:nvGrpSpPr>
        <p:grpSpPr>
          <a:xfrm>
            <a:off x="75500" y="697334"/>
            <a:ext cx="6672877" cy="1080000"/>
            <a:chOff x="0" y="697334"/>
            <a:chExt cx="6681266" cy="1080000"/>
          </a:xfrm>
        </p:grpSpPr>
        <p:sp>
          <p:nvSpPr>
            <p:cNvPr id="12" name="Rechteck 15">
              <a:extLst>
                <a:ext uri="{FF2B5EF4-FFF2-40B4-BE49-F238E27FC236}">
                  <a16:creationId xmlns:a16="http://schemas.microsoft.com/office/drawing/2014/main" id="{095AE092-40F1-4B9B-BF0A-B157AE8D48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0" y="697334"/>
              <a:ext cx="668126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" name="Grafik 14">
              <a:extLst>
                <a:ext uri="{FF2B5EF4-FFF2-40B4-BE49-F238E27FC236}">
                  <a16:creationId xmlns:a16="http://schemas.microsoft.com/office/drawing/2014/main" id="{47F1CB81-AFB2-473E-9BE6-894ECCD5623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7940" y="964839"/>
              <a:ext cx="1619425" cy="586722"/>
            </a:xfrm>
            <a:prstGeom prst="rect">
              <a:avLst/>
            </a:prstGeom>
          </p:spPr>
        </p:pic>
        <p:sp>
          <p:nvSpPr>
            <p:cNvPr id="14" name="Rechteck 26">
              <a:extLst>
                <a:ext uri="{FF2B5EF4-FFF2-40B4-BE49-F238E27FC236}">
                  <a16:creationId xmlns:a16="http://schemas.microsoft.com/office/drawing/2014/main" id="{D40F1606-A23B-4AEC-8927-74C84E3CAB2A}"/>
                </a:ext>
              </a:extLst>
            </p:cNvPr>
            <p:cNvSpPr/>
            <p:nvPr/>
          </p:nvSpPr>
          <p:spPr>
            <a:xfrm>
              <a:off x="4597858" y="853200"/>
              <a:ext cx="21543" cy="81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" name="Grafik 27">
              <a:extLst>
                <a:ext uri="{FF2B5EF4-FFF2-40B4-BE49-F238E27FC236}">
                  <a16:creationId xmlns:a16="http://schemas.microsoft.com/office/drawing/2014/main" id="{433410A2-B9E1-4C2C-81F7-2E42305BD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16654" y="874974"/>
              <a:ext cx="1700787" cy="496452"/>
            </a:xfrm>
            <a:prstGeom prst="rect">
              <a:avLst/>
            </a:prstGeom>
          </p:spPr>
        </p:pic>
      </p:grpSp>
      <p:sp>
        <p:nvSpPr>
          <p:cNvPr id="11" name="Titel 1">
            <a:extLst>
              <a:ext uri="{FF2B5EF4-FFF2-40B4-BE49-F238E27FC236}">
                <a16:creationId xmlns:a16="http://schemas.microsoft.com/office/drawing/2014/main" id="{D1D0FA0A-4BA6-48DF-BC8F-0EAD4C16024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31999" y="2232000"/>
            <a:ext cx="10226475" cy="53977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 b="0" dirty="0">
                <a:latin typeface="+mj-lt"/>
                <a:cs typeface="Segoe UI Semibold" panose="020B0702040204020203" pitchFamily="34" charset="0"/>
              </a:rPr>
              <a:t>Desde la genética hasta la comercialización</a:t>
            </a:r>
            <a:endParaRPr lang="es-ES" dirty="0">
              <a:latin typeface="+mj-lt"/>
              <a:cs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0ABD9F5-10F9-DB36-053D-5D3FC121800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31999" y="5860889"/>
            <a:ext cx="7515589" cy="53977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 sz="2000" b="0" dirty="0">
                <a:latin typeface="+mj-lt"/>
                <a:cs typeface="Segoe UI Semibold" panose="020B0702040204020203" pitchFamily="34" charset="0"/>
              </a:rPr>
              <a:t>Roberto Ballester Delgado</a:t>
            </a:r>
          </a:p>
        </p:txBody>
      </p:sp>
    </p:spTree>
    <p:extLst>
      <p:ext uri="{BB962C8B-B14F-4D97-AF65-F5344CB8AC3E}">
        <p14:creationId xmlns:p14="http://schemas.microsoft.com/office/powerpoint/2010/main" val="2010287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FE12A-39EE-1A05-09D6-A7FA0876E4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D6147AE-8FDB-162C-4599-82BB99201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D6147AE-8FDB-162C-4599-82BB99201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9F94AA-AF21-9253-E678-6F5E22795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0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8587A3-6965-460C-BCF7-F6EC8CE38E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B9CB1639-15CE-6233-A3A7-130BAD941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Si eres comercializador</a:t>
            </a:r>
          </a:p>
        </p:txBody>
      </p:sp>
      <p:pic>
        <p:nvPicPr>
          <p:cNvPr id="26" name="Imagen 25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445F910C-941E-00F0-CBED-3D09A91B21C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7" r="3852"/>
          <a:stretch/>
        </p:blipFill>
        <p:spPr>
          <a:xfrm>
            <a:off x="419121" y="894074"/>
            <a:ext cx="2935354" cy="327921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BE908A3-A3B8-9FBF-9850-A5050ABBA517}"/>
              </a:ext>
            </a:extLst>
          </p:cNvPr>
          <p:cNvSpPr txBox="1">
            <a:spLocks/>
          </p:cNvSpPr>
          <p:nvPr/>
        </p:nvSpPr>
        <p:spPr>
          <a:xfrm>
            <a:off x="419121" y="4503303"/>
            <a:ext cx="3430503" cy="1915785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F39500"/>
              </a:buClr>
              <a:buSzTx/>
              <a:buFont typeface="Wingdings"/>
              <a:buChar char="n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9138" marR="0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4738" marR="0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3513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Variabilidad de calibres / mercados</a:t>
            </a:r>
          </a:p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lanificación</a:t>
            </a:r>
          </a:p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Destrío y manipulación</a:t>
            </a:r>
          </a:p>
        </p:txBody>
      </p:sp>
      <p:pic>
        <p:nvPicPr>
          <p:cNvPr id="5" name="Imagen 4" descr="Un jardín con plantas&#10;&#10;El contenido generado por IA puede ser incorrecto.">
            <a:extLst>
              <a:ext uri="{FF2B5EF4-FFF2-40B4-BE49-F238E27FC236}">
                <a16:creationId xmlns:a16="http://schemas.microsoft.com/office/drawing/2014/main" id="{F029F870-DFBA-77EB-8057-94CCB891BB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2804" y="3851012"/>
            <a:ext cx="3551714" cy="26637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Imagen 8" descr="Un jardín con plantas&#10;&#10;El contenido generado por IA puede ser incorrecto.">
            <a:extLst>
              <a:ext uri="{FF2B5EF4-FFF2-40B4-BE49-F238E27FC236}">
                <a16:creationId xmlns:a16="http://schemas.microsoft.com/office/drawing/2014/main" id="{CD237119-7567-EFD0-7A81-7A412CA91C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2804" y="921507"/>
            <a:ext cx="3646585" cy="27349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Imagen 7" descr="Imagen que contiene caja, tabla, verde&#10;&#10;Descripción generada automáticamente">
            <a:extLst>
              <a:ext uri="{FF2B5EF4-FFF2-40B4-BE49-F238E27FC236}">
                <a16:creationId xmlns:a16="http://schemas.microsoft.com/office/drawing/2014/main" id="{A50EC3DB-CE3C-5E45-9E39-473C55E5603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26170" y="1901905"/>
            <a:ext cx="4293648" cy="32202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320783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45CD28-BE48-E83A-A0C4-85E0BD0313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3252C19-80E3-1C2D-606E-B2C53803DF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3252C19-80E3-1C2D-606E-B2C53803D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A8B8084-A8A7-3E50-473B-AE054A9730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1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86C94C-F873-AC01-53CB-FF464414E1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4E2E807C-C02C-7C9C-153E-D736946AB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Si eres supermercado / especialista</a:t>
            </a:r>
          </a:p>
        </p:txBody>
      </p:sp>
      <p:pic>
        <p:nvPicPr>
          <p:cNvPr id="28" name="Imagen 27" descr="Pantalla de celular con fruta&#10;&#10;Descripción generada automáticamente con confianza media">
            <a:extLst>
              <a:ext uri="{FF2B5EF4-FFF2-40B4-BE49-F238E27FC236}">
                <a16:creationId xmlns:a16="http://schemas.microsoft.com/office/drawing/2014/main" id="{ED489D57-01C5-AD35-AD58-0F33F1351B3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6" r="2771"/>
          <a:stretch/>
        </p:blipFill>
        <p:spPr>
          <a:xfrm>
            <a:off x="419121" y="846206"/>
            <a:ext cx="2891007" cy="309840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806E110F-6E40-E825-5918-6263AE0595DD}"/>
              </a:ext>
            </a:extLst>
          </p:cNvPr>
          <p:cNvSpPr txBox="1">
            <a:spLocks/>
          </p:cNvSpPr>
          <p:nvPr/>
        </p:nvSpPr>
        <p:spPr>
          <a:xfrm>
            <a:off x="419121" y="4162744"/>
            <a:ext cx="4189539" cy="124777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F39500"/>
              </a:buClr>
              <a:buSzTx/>
              <a:buFont typeface="Wingdings"/>
              <a:buChar char="n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9138" marR="0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4738" marR="0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3513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Qué es y qué aporta Green Queen?</a:t>
            </a:r>
          </a:p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ómo se distribuye la comercialización?</a:t>
            </a:r>
          </a:p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Ha de ser un trabajo en colaboración</a:t>
            </a:r>
          </a:p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No tenemos experiencia, pero hay que aprender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55A325A7-0454-B8DF-A64D-C0EEEA35595D}"/>
              </a:ext>
            </a:extLst>
          </p:cNvPr>
          <p:cNvGrpSpPr/>
          <p:nvPr/>
        </p:nvGrpSpPr>
        <p:grpSpPr>
          <a:xfrm>
            <a:off x="7815413" y="1394942"/>
            <a:ext cx="4090568" cy="3200828"/>
            <a:chOff x="6351880" y="1025575"/>
            <a:chExt cx="4610743" cy="3620005"/>
          </a:xfrm>
        </p:grpSpPr>
        <p:pic>
          <p:nvPicPr>
            <p:cNvPr id="11" name="Imagen 10" descr="Gráfico, Diagrama&#10;&#10;El contenido generado por IA puede ser incorrecto.">
              <a:extLst>
                <a:ext uri="{FF2B5EF4-FFF2-40B4-BE49-F238E27FC236}">
                  <a16:creationId xmlns:a16="http://schemas.microsoft.com/office/drawing/2014/main" id="{04C028E0-C396-3F6F-D90F-81EE55F3B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1880" y="1025575"/>
              <a:ext cx="4610743" cy="3620005"/>
            </a:xfrm>
            <a:prstGeom prst="rect">
              <a:avLst/>
            </a:prstGeom>
          </p:spPr>
        </p:pic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2B44B686-A7FA-EBA6-0480-CCCB0CBAB6E9}"/>
                </a:ext>
              </a:extLst>
            </p:cNvPr>
            <p:cNvSpPr/>
            <p:nvPr/>
          </p:nvSpPr>
          <p:spPr>
            <a:xfrm>
              <a:off x="6707778" y="4088921"/>
              <a:ext cx="1297535" cy="21566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F5CB65BE-3FEA-3414-2976-4C97EEF97845}"/>
              </a:ext>
            </a:extLst>
          </p:cNvPr>
          <p:cNvGrpSpPr/>
          <p:nvPr/>
        </p:nvGrpSpPr>
        <p:grpSpPr>
          <a:xfrm>
            <a:off x="3530458" y="1394942"/>
            <a:ext cx="4284955" cy="3167135"/>
            <a:chOff x="419121" y="1025575"/>
            <a:chExt cx="4829849" cy="3581900"/>
          </a:xfrm>
        </p:grpSpPr>
        <p:pic>
          <p:nvPicPr>
            <p:cNvPr id="14" name="Imagen 13" descr="Gráfico, Diagrama&#10;&#10;El contenido generado por IA puede ser incorrecto.">
              <a:extLst>
                <a:ext uri="{FF2B5EF4-FFF2-40B4-BE49-F238E27FC236}">
                  <a16:creationId xmlns:a16="http://schemas.microsoft.com/office/drawing/2014/main" id="{59AC6343-9BF6-08CA-F41B-ED26F12F6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121" y="1025575"/>
              <a:ext cx="4829849" cy="3581900"/>
            </a:xfrm>
            <a:prstGeom prst="rect">
              <a:avLst/>
            </a:prstGeom>
          </p:spPr>
        </p:pic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B13A4A4C-27FD-A469-4A13-8402F263B404}"/>
                </a:ext>
              </a:extLst>
            </p:cNvPr>
            <p:cNvSpPr/>
            <p:nvPr/>
          </p:nvSpPr>
          <p:spPr>
            <a:xfrm>
              <a:off x="493884" y="2410312"/>
              <a:ext cx="1297535" cy="21566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1477856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E30DB7-F16D-A3BF-7530-2BA00DC77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A65FFC7-6B5B-1AC1-96ED-58B20D5C92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A65FFC7-6B5B-1AC1-96ED-58B20D5C9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E9ECFA-865D-BD9C-F415-5D54B55843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2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CDD5BE7-BA65-B935-87F0-0D5FC3B4A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2021, primera ac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1C0389E-95FD-063B-F057-F49027522337}"/>
              </a:ext>
            </a:extLst>
          </p:cNvPr>
          <p:cNvSpPr txBox="1"/>
          <p:nvPr/>
        </p:nvSpPr>
        <p:spPr>
          <a:xfrm>
            <a:off x="419120" y="658896"/>
            <a:ext cx="1162352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dirty="0">
                <a:latin typeface="Arial Narrow" panose="020B0606020202030204" pitchFamily="34" charset="0"/>
              </a:rPr>
              <a:t>De la mano de subastas y comercializadores, desarrollamos la primera acción en 2021 con 20 mayoristas en </a:t>
            </a:r>
            <a:r>
              <a:rPr lang="es-ES" dirty="0" err="1">
                <a:latin typeface="Arial Narrow" panose="020B0606020202030204" pitchFamily="34" charset="0"/>
              </a:rPr>
              <a:t>Mercabarna</a:t>
            </a:r>
            <a:r>
              <a:rPr lang="es-ES" dirty="0">
                <a:latin typeface="Arial Narrow" panose="020B0606020202030204" pitchFamily="34" charset="0"/>
              </a:rPr>
              <a:t> y </a:t>
            </a:r>
            <a:r>
              <a:rPr lang="es-ES" dirty="0" err="1">
                <a:latin typeface="Arial Narrow" panose="020B0606020202030204" pitchFamily="34" charset="0"/>
              </a:rPr>
              <a:t>Mercamadrid</a:t>
            </a:r>
            <a:endParaRPr lang="es-ES" dirty="0">
              <a:latin typeface="Arial Narrow" panose="020B0606020202030204" pitchFamily="34" charset="0"/>
            </a:endParaRPr>
          </a:p>
          <a:p>
            <a:endParaRPr lang="es-ES" dirty="0">
              <a:latin typeface="Arial Narrow" panose="020B0606020202030204" pitchFamily="34" charset="0"/>
            </a:endParaRPr>
          </a:p>
        </p:txBody>
      </p:sp>
      <p:pic>
        <p:nvPicPr>
          <p:cNvPr id="36" name="Imagen 35" descr="Imagen que contiene interior, persona, hombre, parado&#10;&#10;El contenido generado por IA puede ser incorrecto.">
            <a:extLst>
              <a:ext uri="{FF2B5EF4-FFF2-40B4-BE49-F238E27FC236}">
                <a16:creationId xmlns:a16="http://schemas.microsoft.com/office/drawing/2014/main" id="{E802E5E9-88B9-2002-544E-D298749BE8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" b="-80"/>
          <a:stretch>
            <a:fillRect/>
          </a:stretch>
        </p:blipFill>
        <p:spPr>
          <a:xfrm>
            <a:off x="2526346" y="1303454"/>
            <a:ext cx="2523283" cy="44890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8" name="Imagen 47" descr="Un grupo de folletos sobre una mesa&#10;&#10;El contenido generado por IA puede ser incorrecto.">
            <a:extLst>
              <a:ext uri="{FF2B5EF4-FFF2-40B4-BE49-F238E27FC236}">
                <a16:creationId xmlns:a16="http://schemas.microsoft.com/office/drawing/2014/main" id="{2BD15CA5-2496-8B71-ED73-80B5B9424C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46753" y="4203574"/>
            <a:ext cx="2641399" cy="19810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Imagen 7" descr="Una tienda de libros&#10;&#10;El contenido generado por IA puede ser incorrecto.">
            <a:extLst>
              <a:ext uri="{FF2B5EF4-FFF2-40B4-BE49-F238E27FC236}">
                <a16:creationId xmlns:a16="http://schemas.microsoft.com/office/drawing/2014/main" id="{2F5BBCA0-80CD-1F4A-2A1E-DDBBBBE591F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1116844"/>
            <a:ext cx="1981051" cy="2641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" name="Imagen 1" descr="Imagen que contiene persona, edificio, mujer, sostener&#10;&#10;El contenido generado por IA puede ser incorrecto.">
            <a:extLst>
              <a:ext uri="{FF2B5EF4-FFF2-40B4-BE49-F238E27FC236}">
                <a16:creationId xmlns:a16="http://schemas.microsoft.com/office/drawing/2014/main" id="{B4FFD5C4-173C-100F-3EE4-1F248E99D1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824" y="1303454"/>
            <a:ext cx="3366823" cy="44890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Imagen 5" descr="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DA7CA889-5779-126D-66D9-3D179B83EB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015" y="1350316"/>
            <a:ext cx="3331677" cy="44422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114375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509A40-23AE-6E42-1C8C-D927AD6695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E054674-1965-BD55-416B-F76D217322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E054674-1965-BD55-416B-F76D21732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2EFC78D-FF23-2EE1-99C7-95BD1A383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3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A1E7276-06A1-4059-0D63-EEDA01FB0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Y</a:t>
            </a: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 la primavera? 2022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E72AC06-741A-0C9B-E354-99F73E1D8B88}"/>
              </a:ext>
            </a:extLst>
          </p:cNvPr>
          <p:cNvSpPr txBox="1"/>
          <p:nvPr/>
        </p:nvSpPr>
        <p:spPr>
          <a:xfrm>
            <a:off x="419121" y="806504"/>
            <a:ext cx="90981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dirty="0">
                <a:latin typeface="Arial Narrow" panose="020B0606020202030204" pitchFamily="34" charset="0"/>
              </a:rPr>
              <a:t>Ojo, que tenemos calidad en primavera</a:t>
            </a:r>
          </a:p>
        </p:txBody>
      </p:sp>
      <p:pic>
        <p:nvPicPr>
          <p:cNvPr id="9" name="Imagen 8" descr="Imagen que contiene exterior, edificio, verde, tabla&#10;&#10;El contenido generado por IA puede ser incorrecto.">
            <a:extLst>
              <a:ext uri="{FF2B5EF4-FFF2-40B4-BE49-F238E27FC236}">
                <a16:creationId xmlns:a16="http://schemas.microsoft.com/office/drawing/2014/main" id="{EFBF85CC-C79B-F1B1-56A5-34DDCBB16C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46" t="-331" r="7206" b="5097"/>
          <a:stretch>
            <a:fillRect/>
          </a:stretch>
        </p:blipFill>
        <p:spPr>
          <a:xfrm>
            <a:off x="218306" y="1942333"/>
            <a:ext cx="3530105" cy="33024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Imagen 13" descr="Texto&#10;&#10;El contenido generado por IA puede ser incorrecto.">
            <a:extLst>
              <a:ext uri="{FF2B5EF4-FFF2-40B4-BE49-F238E27FC236}">
                <a16:creationId xmlns:a16="http://schemas.microsoft.com/office/drawing/2014/main" id="{652167FC-9411-A331-26A5-1BA54EC773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4" t="14476" r="22029" b="15680"/>
          <a:stretch>
            <a:fillRect/>
          </a:stretch>
        </p:blipFill>
        <p:spPr>
          <a:xfrm>
            <a:off x="6495854" y="1261937"/>
            <a:ext cx="1822525" cy="29797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6" name="Imagen 15" descr="Un grupo de personas en un parque de diversiones&#10;&#10;El contenido generado por IA puede ser incorrecto.">
            <a:extLst>
              <a:ext uri="{FF2B5EF4-FFF2-40B4-BE49-F238E27FC236}">
                <a16:creationId xmlns:a16="http://schemas.microsoft.com/office/drawing/2014/main" id="{4F3B63BF-78FC-DDAA-BEBF-E3991248F1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2735" y="3277886"/>
            <a:ext cx="2190914" cy="29212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Imagen 17" descr="Texto&#10;&#10;El contenido generado por IA puede ser incorrecto.">
            <a:extLst>
              <a:ext uri="{FF2B5EF4-FFF2-40B4-BE49-F238E27FC236}">
                <a16:creationId xmlns:a16="http://schemas.microsoft.com/office/drawing/2014/main" id="{A6A59F19-EA4A-1A7E-6257-9D6FBC901D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79" b="11174"/>
          <a:stretch>
            <a:fillRect/>
          </a:stretch>
        </p:blipFill>
        <p:spPr>
          <a:xfrm>
            <a:off x="8459126" y="2461368"/>
            <a:ext cx="3592421" cy="33024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98141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4F905D-52CC-9A62-D3C6-18EAABEE0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07BD095-B90A-4AF2-5708-4690224111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7BD095-B90A-4AF2-5708-469022411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B253567-45D7-FE05-31DD-FBD4F4A207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4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8AEF27DE-D7FC-C2B5-32D2-852047A23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Conclusiones</a:t>
            </a:r>
            <a:endParaRPr lang="de-DE" sz="3200" b="0" dirty="0">
              <a:solidFill>
                <a:schemeClr val="accent1"/>
              </a:solidFill>
              <a:latin typeface="Arial Narrow" panose="020B0606020202030204" pitchFamily="34" charset="0"/>
              <a:ea typeface="Cambria" panose="02040503050406030204" pitchFamily="18" charset="0"/>
              <a:cs typeface="Segoe UI Semibold" panose="020B0702040204020203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046677F-5371-0F31-3D4F-620F39804829}"/>
              </a:ext>
            </a:extLst>
          </p:cNvPr>
          <p:cNvSpPr txBox="1"/>
          <p:nvPr/>
        </p:nvSpPr>
        <p:spPr>
          <a:xfrm>
            <a:off x="419121" y="1009419"/>
            <a:ext cx="4613387" cy="47547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Había </a:t>
            </a:r>
            <a:r>
              <a:rPr lang="es-ES" sz="1600" b="1" dirty="0">
                <a:latin typeface="Arial Narrow" panose="020B0606020202030204" pitchFamily="34" charset="0"/>
              </a:rPr>
              <a:t>ganas de hacer cosas</a:t>
            </a:r>
            <a:r>
              <a:rPr lang="es-ES" sz="1600" dirty="0">
                <a:latin typeface="Arial Narrow" panose="020B0606020202030204" pitchFamily="34" charset="0"/>
              </a:rPr>
              <a:t>; en la alcachofa no hay una gran inversión en comunicació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Tuvo una buena repercusión en medio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Había mucha confusión entre híbridas / no híbridas, Tudela, Green Queen…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Aportamos una mayor claridad sobre lo que es Green Quee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Comprendimos mejor las necesidades de los mayorista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Un punto destacaba sobre todos los demás </a:t>
            </a: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 Green Queen llega con calidad a los fruteros, y a los consumidore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Vamos a trabajar sobre ello!</a:t>
            </a:r>
          </a:p>
          <a:p>
            <a:pPr lvl="1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</p:txBody>
      </p:sp>
      <p:pic>
        <p:nvPicPr>
          <p:cNvPr id="9" name="Imagen 8" descr="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3C33F4BC-CC4F-5402-48AD-F12283A2B6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1789" y="301828"/>
            <a:ext cx="4146043" cy="28980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Imagen 13" descr="Interfaz de usuario gráfica, Texto, Aplicación&#10;&#10;El contenido generado por IA puede ser incorrecto.">
            <a:extLst>
              <a:ext uri="{FF2B5EF4-FFF2-40B4-BE49-F238E27FC236}">
                <a16:creationId xmlns:a16="http://schemas.microsoft.com/office/drawing/2014/main" id="{75AE9F1E-4D31-53E1-3995-2FFE34E303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0526" y="3526141"/>
            <a:ext cx="3427595" cy="291759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204073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151A87-1BA5-5FA4-11AA-8DD39E5A2D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E14E97-0C46-F69A-5444-B1EB8BCBCC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E14E97-0C46-F69A-5444-B1EB8BCBC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903AA58-712B-B2BE-73D1-975503838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5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BE233919-92BF-FA4E-DC21-2814355B2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96877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  <a:sym typeface="Wingdings" panose="05000000000000000000" pitchFamily="2" charset="2"/>
              </a:rPr>
              <a:t>Campaña 2023</a:t>
            </a:r>
            <a:endParaRPr lang="de-DE" sz="3200" b="0" dirty="0">
              <a:solidFill>
                <a:schemeClr val="accent1"/>
              </a:solidFill>
              <a:latin typeface="Arial Narrow" panose="020B0606020202030204" pitchFamily="34" charset="0"/>
              <a:ea typeface="Cambria" panose="02040503050406030204" pitchFamily="18" charset="0"/>
              <a:cs typeface="Segoe UI Semibold" panose="020B0702040204020203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3FAB43B-1B87-2D87-D7C5-469B4EE693E7}"/>
              </a:ext>
            </a:extLst>
          </p:cNvPr>
          <p:cNvSpPr txBox="1"/>
          <p:nvPr/>
        </p:nvSpPr>
        <p:spPr>
          <a:xfrm>
            <a:off x="765735" y="6267233"/>
            <a:ext cx="7436433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1050" dirty="0">
                <a:latin typeface="Arial Narrow" panose="020B0606020202030204" pitchFamily="34" charset="0"/>
                <a:hlinkClick r:id="rId6"/>
              </a:rPr>
              <a:t>https://www.nunhems.com/dam/jcr:ceae196f-e87c-3216-97c6-6f9dd2205d42/nunhems/www/iberia/landing-green-queen/ES_ARA_Dossier_LSL_okis.pdf</a:t>
            </a:r>
            <a:endParaRPr lang="es-ES" sz="1050" dirty="0">
              <a:latin typeface="Arial Narrow" panose="020B0606020202030204" pitchFamily="34" charset="0"/>
            </a:endParaRPr>
          </a:p>
          <a:p>
            <a:endParaRPr lang="es-ES" sz="1050" dirty="0">
              <a:latin typeface="Arial Narrow" panose="020B0606020202030204" pitchFamily="34" charset="0"/>
            </a:endParaRPr>
          </a:p>
        </p:txBody>
      </p:sp>
      <p:pic>
        <p:nvPicPr>
          <p:cNvPr id="4" name="Imagen 3" descr="Diagrama&#10;&#10;Descripción generada automáticamente">
            <a:extLst>
              <a:ext uri="{FF2B5EF4-FFF2-40B4-BE49-F238E27FC236}">
                <a16:creationId xmlns:a16="http://schemas.microsoft.com/office/drawing/2014/main" id="{053AC7C1-F7BD-4F69-8FA2-50D0313941E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75" b="17479"/>
          <a:stretch/>
        </p:blipFill>
        <p:spPr>
          <a:xfrm>
            <a:off x="227013" y="698298"/>
            <a:ext cx="11392887" cy="1477461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CDB84729-7AA5-F2B9-F14E-07F2B1469880}"/>
              </a:ext>
            </a:extLst>
          </p:cNvPr>
          <p:cNvGrpSpPr/>
          <p:nvPr/>
        </p:nvGrpSpPr>
        <p:grpSpPr>
          <a:xfrm>
            <a:off x="765735" y="2113877"/>
            <a:ext cx="3963286" cy="4067066"/>
            <a:chOff x="1267670" y="628071"/>
            <a:chExt cx="6149873" cy="6005080"/>
          </a:xfrm>
        </p:grpSpPr>
        <p:pic>
          <p:nvPicPr>
            <p:cNvPr id="6" name="Imagen 5" descr="Interfaz de usuario gráfica&#10;&#10;Descripción generada automáticamente con confianza baja">
              <a:extLst>
                <a:ext uri="{FF2B5EF4-FFF2-40B4-BE49-F238E27FC236}">
                  <a16:creationId xmlns:a16="http://schemas.microsoft.com/office/drawing/2014/main" id="{5B4517A1-3DB7-EC69-48EB-8CC8233EFD8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7670" y="628071"/>
              <a:ext cx="6149873" cy="6005080"/>
            </a:xfrm>
            <a:prstGeom prst="rect">
              <a:avLst/>
            </a:prstGeom>
          </p:spPr>
        </p:pic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345D831C-9C8A-858A-2AED-C3EB9EAE6BAF}"/>
                </a:ext>
              </a:extLst>
            </p:cNvPr>
            <p:cNvSpPr/>
            <p:nvPr/>
          </p:nvSpPr>
          <p:spPr>
            <a:xfrm>
              <a:off x="1267670" y="628071"/>
              <a:ext cx="1847850" cy="1960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1CEC0E62-C7CA-FCD3-CEE3-78782A5010FA}"/>
              </a:ext>
            </a:extLst>
          </p:cNvPr>
          <p:cNvGrpSpPr/>
          <p:nvPr/>
        </p:nvGrpSpPr>
        <p:grpSpPr>
          <a:xfrm>
            <a:off x="4881940" y="2165528"/>
            <a:ext cx="4622278" cy="4000708"/>
            <a:chOff x="1017244" y="673001"/>
            <a:chExt cx="6240805" cy="6016261"/>
          </a:xfrm>
        </p:grpSpPr>
        <p:pic>
          <p:nvPicPr>
            <p:cNvPr id="12" name="Imagen 11" descr="Un conjunto de letras blancas en un fondo blanco&#10;&#10;Descripción generada automáticamente con confianza media">
              <a:extLst>
                <a:ext uri="{FF2B5EF4-FFF2-40B4-BE49-F238E27FC236}">
                  <a16:creationId xmlns:a16="http://schemas.microsoft.com/office/drawing/2014/main" id="{5F2DBFB3-3325-4537-0A81-83C0284540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44" y="673001"/>
              <a:ext cx="6240805" cy="6016261"/>
            </a:xfrm>
            <a:prstGeom prst="rect">
              <a:avLst/>
            </a:prstGeom>
          </p:spPr>
        </p:pic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F3C8007B-DC6A-0CA0-877D-837271991092}"/>
                </a:ext>
              </a:extLst>
            </p:cNvPr>
            <p:cNvSpPr/>
            <p:nvPr/>
          </p:nvSpPr>
          <p:spPr>
            <a:xfrm>
              <a:off x="1017244" y="673001"/>
              <a:ext cx="1911544" cy="1966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</p:spTree>
    <p:extLst>
      <p:ext uri="{BB962C8B-B14F-4D97-AF65-F5344CB8AC3E}">
        <p14:creationId xmlns:p14="http://schemas.microsoft.com/office/powerpoint/2010/main" val="2976180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9E7098-D6F9-991D-87BF-E77E890BB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69C831D-07D3-DC74-6E69-43D63698D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69C831D-07D3-DC74-6E69-43D63698D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A9BCC7B-CC99-5496-2B40-F65AB612C6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6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745FEDC-8335-DF83-FC0F-DD6F71FE4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Campaña 2023</a:t>
            </a:r>
            <a:endParaRPr lang="de-DE" sz="3200" b="0" dirty="0">
              <a:solidFill>
                <a:schemeClr val="accent1"/>
              </a:solidFill>
              <a:latin typeface="Arial Narrow" panose="020B0606020202030204" pitchFamily="34" charset="0"/>
              <a:ea typeface="Cambria" panose="02040503050406030204" pitchFamily="18" charset="0"/>
              <a:cs typeface="Segoe UI Semibold" panose="020B0702040204020203" pitchFamily="34" charset="0"/>
            </a:endParaRPr>
          </a:p>
        </p:txBody>
      </p:sp>
      <p:pic>
        <p:nvPicPr>
          <p:cNvPr id="5" name="Imagen 4" descr="Hombre parado enfrente de una tienda&#10;&#10;El contenido generado por IA puede ser incorrecto.">
            <a:extLst>
              <a:ext uri="{FF2B5EF4-FFF2-40B4-BE49-F238E27FC236}">
                <a16:creationId xmlns:a16="http://schemas.microsoft.com/office/drawing/2014/main" id="{001CCC8E-D974-43C1-BDB0-B73FB3FDCB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3021" y="854550"/>
            <a:ext cx="3989557" cy="26597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Imagen 7" descr="Un grupo de personas en una tienda&#10;&#10;El contenido generado por IA puede ser incorrecto.">
            <a:extLst>
              <a:ext uri="{FF2B5EF4-FFF2-40B4-BE49-F238E27FC236}">
                <a16:creationId xmlns:a16="http://schemas.microsoft.com/office/drawing/2014/main" id="{FD01A865-BD1B-0420-4DE0-AD611AD26F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45" y="3740733"/>
            <a:ext cx="4274497" cy="28496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Imagen 11" descr="Un hombre parado enfrente de una tienda de fruta&#10;&#10;El contenido generado por IA puede ser incorrecto.">
            <a:extLst>
              <a:ext uri="{FF2B5EF4-FFF2-40B4-BE49-F238E27FC236}">
                <a16:creationId xmlns:a16="http://schemas.microsoft.com/office/drawing/2014/main" id="{E40A62A6-02C0-5D81-D596-0A9073A5AD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45" y="854550"/>
            <a:ext cx="3989557" cy="26597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Imagen 18" descr="Interfaz de usuario gráfica, Aplicación&#10;&#10;El contenido generado por IA puede ser incorrecto.">
            <a:extLst>
              <a:ext uri="{FF2B5EF4-FFF2-40B4-BE49-F238E27FC236}">
                <a16:creationId xmlns:a16="http://schemas.microsoft.com/office/drawing/2014/main" id="{5BFA4836-282F-7508-A99F-B4FC01458D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069" y="1118587"/>
            <a:ext cx="2747623" cy="41214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Imagen 3" descr="Grupo de personas en una tienda&#10;&#10;El contenido generado por IA puede ser incorrecto.">
            <a:extLst>
              <a:ext uri="{FF2B5EF4-FFF2-40B4-BE49-F238E27FC236}">
                <a16:creationId xmlns:a16="http://schemas.microsoft.com/office/drawing/2014/main" id="{B0E06E2B-E128-84FD-9F6C-86BA2E6BC3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10"/>
          <a:stretch>
            <a:fillRect/>
          </a:stretch>
        </p:blipFill>
        <p:spPr>
          <a:xfrm>
            <a:off x="4874621" y="3740732"/>
            <a:ext cx="3778214" cy="28496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985045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801A7C-D259-2537-D9E4-AC65E0A73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17BA19C-12DC-2F4F-9024-08E9799AF1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17BA19C-12DC-2F4F-9024-08E9799AF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5121AF3-BD89-C061-FE38-8C2BAFBFFA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7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5E33F68C-C5D8-8A5C-B953-1998EE355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Conclusiones</a:t>
            </a:r>
            <a:endParaRPr lang="de-DE" sz="3200" b="0" dirty="0">
              <a:solidFill>
                <a:schemeClr val="accent1"/>
              </a:solidFill>
              <a:latin typeface="Arial Narrow" panose="020B0606020202030204" pitchFamily="34" charset="0"/>
              <a:ea typeface="Cambria" panose="02040503050406030204" pitchFamily="18" charset="0"/>
              <a:cs typeface="Segoe UI Semibold" panose="020B0702040204020203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FD52E1B-1D43-C34C-98D0-9AD242DF882A}"/>
              </a:ext>
            </a:extLst>
          </p:cNvPr>
          <p:cNvSpPr txBox="1"/>
          <p:nvPr/>
        </p:nvSpPr>
        <p:spPr>
          <a:xfrm>
            <a:off x="419121" y="3517879"/>
            <a:ext cx="4333151" cy="25387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Excelente repercusión en medio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Cada vez había más claridad acerca de Green Quee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Los mayoristas tenían más conocimiento, y por tanto seguridad en el producto que vendían a sus cliente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Pregunta. Podemos llevar esta información al siguiente nivel?</a:t>
            </a:r>
          </a:p>
          <a:p>
            <a:pPr lvl="1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</p:txBody>
      </p:sp>
      <p:pic>
        <p:nvPicPr>
          <p:cNvPr id="5" name="Imagen 4" descr="Una captura de pantalla de un celular con texto e imagen&#10;&#10;El contenido generado por IA puede ser incorrecto.">
            <a:extLst>
              <a:ext uri="{FF2B5EF4-FFF2-40B4-BE49-F238E27FC236}">
                <a16:creationId xmlns:a16="http://schemas.microsoft.com/office/drawing/2014/main" id="{786E9FA4-7EA1-E3FE-DEBA-C9985D689A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401" y="3429000"/>
            <a:ext cx="2957889" cy="308579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Imagen 7" descr="Una captura de pantalla de un celular con texto e imagen&#10;&#10;El contenido generado por IA puede ser incorrecto.">
            <a:extLst>
              <a:ext uri="{FF2B5EF4-FFF2-40B4-BE49-F238E27FC236}">
                <a16:creationId xmlns:a16="http://schemas.microsoft.com/office/drawing/2014/main" id="{795D4A81-1AFB-B9E4-9702-50EE278A9A0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230" y="853549"/>
            <a:ext cx="7041321" cy="21115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Imagen 11" descr="Interfaz de usuario gráfica, Sitio web&#10;&#10;El contenido generado por IA puede ser incorrecto.">
            <a:extLst>
              <a:ext uri="{FF2B5EF4-FFF2-40B4-BE49-F238E27FC236}">
                <a16:creationId xmlns:a16="http://schemas.microsoft.com/office/drawing/2014/main" id="{AC56CC45-FD9B-8264-9486-DA284809FFA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887" y="1349898"/>
            <a:ext cx="3336273" cy="36812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62084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0257A-C479-EC15-5453-268FEDEC79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7A6C8B5-B160-C7D0-B248-358071A3D6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7A6C8B5-B160-C7D0-B248-358071A3D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52978D1-69F0-CAC5-C6BB-7E183E1C59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8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58122E4-B96C-4353-59BA-200B4971B4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Por supuesto </a:t>
            </a: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  <a:sym typeface="Wingdings" panose="05000000000000000000" pitchFamily="2" charset="2"/>
              </a:rPr>
              <a:t> </a:t>
            </a: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Comunicación a canal especialista</a:t>
            </a:r>
            <a:endParaRPr lang="de-DE" sz="3200" b="0" dirty="0">
              <a:solidFill>
                <a:schemeClr val="accent1"/>
              </a:solidFill>
              <a:latin typeface="Arial Narrow" panose="020B0606020202030204" pitchFamily="34" charset="0"/>
              <a:ea typeface="Cambria" panose="02040503050406030204" pitchFamily="18" charset="0"/>
              <a:cs typeface="Segoe UI Semibold" panose="020B0702040204020203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D9E6BFD-FA2E-3A0B-28FF-370EC444890F}"/>
              </a:ext>
            </a:extLst>
          </p:cNvPr>
          <p:cNvSpPr txBox="1"/>
          <p:nvPr/>
        </p:nvSpPr>
        <p:spPr>
          <a:xfrm>
            <a:off x="419121" y="806504"/>
            <a:ext cx="90981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dirty="0">
                <a:latin typeface="Arial Narrow" panose="020B0606020202030204" pitchFamily="34" charset="0"/>
              </a:rPr>
              <a:t>Qué sabían de Green Queen?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E035B9B-F3C7-C3A0-F5E6-A4FB6FC3DD6F}"/>
              </a:ext>
            </a:extLst>
          </p:cNvPr>
          <p:cNvSpPr txBox="1"/>
          <p:nvPr/>
        </p:nvSpPr>
        <p:spPr>
          <a:xfrm>
            <a:off x="499303" y="1699140"/>
            <a:ext cx="5970077" cy="4016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Encuesta a especialista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Barcelona, Valencia, Alicante, Murcia, Madrid, Bilbao, Sevilla, Málaga, Palma de Mallorca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Muestra: 409 entrevista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Entrevistas telefónicas: 165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Entrevistas presenciales: 244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10 preguntas, pero dos nos aportaron información muy interesante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Pregunta 1. ¿Qué variedades de alcachofa conoce?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Pregunta 2. ¿Cuál es el problema o incidencia más frecuente de la alcachofa en el punto de venta?</a:t>
            </a:r>
          </a:p>
          <a:p>
            <a:pPr lvl="1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</p:txBody>
      </p:sp>
      <p:pic>
        <p:nvPicPr>
          <p:cNvPr id="6" name="Imagen 5" descr="Un plátano junto a una rama&#10;&#10;El contenido generado por IA puede ser incorrecto.">
            <a:extLst>
              <a:ext uri="{FF2B5EF4-FFF2-40B4-BE49-F238E27FC236}">
                <a16:creationId xmlns:a16="http://schemas.microsoft.com/office/drawing/2014/main" id="{0C8DEA05-4BA0-E320-82A0-4E5724C298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653" y="1350170"/>
            <a:ext cx="4590457" cy="306126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384919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8D166-D0DB-F597-783D-6C95EFB92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6DC1548-D948-B03D-135A-DEE97C5A35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6DC1548-D948-B03D-135A-DEE97C5A3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BDE8679-707C-1819-8948-1D7975863B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19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8B2CE7F9-319C-76A2-6CD2-4C0433121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Comunicación a especialistas </a:t>
            </a: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  <a:sym typeface="Wingdings" panose="05000000000000000000" pitchFamily="2" charset="2"/>
              </a:rPr>
              <a:t> Encuesta</a:t>
            </a:r>
            <a:b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  <a:sym typeface="Wingdings" panose="05000000000000000000" pitchFamily="2" charset="2"/>
              </a:rPr>
            </a:br>
            <a:endParaRPr lang="es-ES" sz="3200" b="0" dirty="0">
              <a:latin typeface="Arial Narrow" panose="020B0606020202030204" pitchFamily="34" charset="0"/>
              <a:ea typeface="Cambria" panose="02040503050406030204" pitchFamily="18" charset="0"/>
              <a:cs typeface="Segoe UI Semibold" panose="020B0702040204020203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E1C1A06-0F7C-87FB-D364-5CBA3F26F9DA}"/>
              </a:ext>
            </a:extLst>
          </p:cNvPr>
          <p:cNvSpPr txBox="1"/>
          <p:nvPr/>
        </p:nvSpPr>
        <p:spPr>
          <a:xfrm>
            <a:off x="550845" y="1087851"/>
            <a:ext cx="2088837" cy="549336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1. ¿Qué variedades de alcachofa conoce?</a:t>
            </a:r>
            <a:endParaRPr lang="es-ES" sz="1600" dirty="0">
              <a:latin typeface="Arial Narrow" panose="020B060602020203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Blanca de Tudela 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Híbrida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Green Queen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Prat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Local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Torres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Campanillas</a:t>
            </a:r>
          </a:p>
          <a:p>
            <a:pPr algn="ctr">
              <a:lnSpc>
                <a:spcPct val="150000"/>
              </a:lnSpc>
            </a:pPr>
            <a:r>
              <a:rPr lang="es-ES" sz="1600" dirty="0" err="1">
                <a:latin typeface="Arial Narrow" panose="020B0606020202030204" pitchFamily="34" charset="0"/>
              </a:rPr>
              <a:t>Alcachofina</a:t>
            </a:r>
            <a:endParaRPr lang="es-ES" sz="1600" dirty="0">
              <a:latin typeface="Arial Narrow" panose="020B060602020203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s-ES" sz="1600" dirty="0" err="1">
                <a:latin typeface="Arial Narrow" panose="020B0606020202030204" pitchFamily="34" charset="0"/>
              </a:rPr>
              <a:t>Mallorquna</a:t>
            </a:r>
            <a:endParaRPr lang="es-ES" sz="1600" dirty="0">
              <a:latin typeface="Arial Narrow" panose="020B060602020203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Benicarló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Otros</a:t>
            </a:r>
          </a:p>
          <a:p>
            <a:pPr algn="ctr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  <a:p>
            <a:pPr algn="ctr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436DA4C-4F68-2DAA-0C17-E48E5E93CEAC}"/>
              </a:ext>
            </a:extLst>
          </p:cNvPr>
          <p:cNvSpPr txBox="1"/>
          <p:nvPr/>
        </p:nvSpPr>
        <p:spPr>
          <a:xfrm>
            <a:off x="2963514" y="1087850"/>
            <a:ext cx="2088837" cy="549336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2. ¿Cuál es el problema o incidencia más frecuente de la alcachofa en</a:t>
            </a:r>
          </a:p>
          <a:p>
            <a:pPr algn="ctr">
              <a:lnSpc>
                <a:spcPct val="150000"/>
              </a:lnSpc>
            </a:pPr>
            <a:r>
              <a:rPr lang="es-ES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l punto de venta?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Durabilidad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Ennegrezca 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Solo en temporada 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Conservación sin frío 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Precio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Calidad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Merma  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No hay demanda 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latin typeface="Arial Narrow" panose="020B0606020202030204" pitchFamily="34" charset="0"/>
              </a:rPr>
              <a:t>Otros</a:t>
            </a:r>
          </a:p>
          <a:p>
            <a:pPr algn="ctr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  <a:p>
            <a:pPr algn="ctr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43883D6-8FD5-B921-DF16-68F4239EF1A0}"/>
              </a:ext>
            </a:extLst>
          </p:cNvPr>
          <p:cNvSpPr txBox="1"/>
          <p:nvPr/>
        </p:nvSpPr>
        <p:spPr>
          <a:xfrm>
            <a:off x="6017667" y="1087850"/>
            <a:ext cx="4613387" cy="3277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CONCLUSIONE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Hay un gran desconocimiento de las variedades de alcachofa, entre ellas Green Queen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Los principales quebraderos de cabeza para los especialistas son: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Ennegrecimiento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Conservación y calidad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Disponibilidad en temporada</a:t>
            </a:r>
          </a:p>
          <a:p>
            <a:pPr lvl="1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73C8963-AD62-E1B5-4E3F-1D438BA721B8}"/>
              </a:ext>
            </a:extLst>
          </p:cNvPr>
          <p:cNvSpPr txBox="1"/>
          <p:nvPr/>
        </p:nvSpPr>
        <p:spPr>
          <a:xfrm>
            <a:off x="6203149" y="4511871"/>
            <a:ext cx="4613387" cy="106099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Campaña comunicación a especialistas 2024 y 2025</a:t>
            </a:r>
          </a:p>
          <a:p>
            <a:pPr algn="ctr">
              <a:lnSpc>
                <a:spcPct val="150000"/>
              </a:lnSpc>
            </a:pPr>
            <a:r>
              <a:rPr lang="es-ES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Base de datos de más de 250 fruterías</a:t>
            </a:r>
          </a:p>
          <a:p>
            <a:pPr algn="ctr">
              <a:lnSpc>
                <a:spcPct val="150000"/>
              </a:lnSpc>
            </a:pPr>
            <a:r>
              <a:rPr lang="es-ES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Qué es Green Queen y que valor les puede aportar</a:t>
            </a:r>
          </a:p>
        </p:txBody>
      </p:sp>
    </p:spTree>
    <p:extLst>
      <p:ext uri="{BB962C8B-B14F-4D97-AF65-F5344CB8AC3E}">
        <p14:creationId xmlns:p14="http://schemas.microsoft.com/office/powerpoint/2010/main" val="151881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/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2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8306" y="159436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Propuesta</a:t>
            </a:r>
          </a:p>
        </p:txBody>
      </p:sp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921551DE-BFBE-1EFE-A5C9-D6FE6F0D42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6442" y="1480568"/>
            <a:ext cx="5181600" cy="4351338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es-ES" dirty="0">
                <a:latin typeface="Amasis MT Pro Light" panose="02040304050005020304" pitchFamily="18" charset="0"/>
              </a:rPr>
              <a:t>BASF NUNHEMS, pasión por la alcachofa</a:t>
            </a:r>
          </a:p>
          <a:p>
            <a:pPr>
              <a:lnSpc>
                <a:spcPct val="200000"/>
              </a:lnSpc>
            </a:pPr>
            <a:r>
              <a:rPr lang="es-ES" dirty="0">
                <a:latin typeface="Amasis MT Pro Light" panose="02040304050005020304" pitchFamily="18" charset="0"/>
              </a:rPr>
              <a:t>Green Queen, desde la genética a la comercialización</a:t>
            </a:r>
          </a:p>
          <a:p>
            <a:pPr>
              <a:lnSpc>
                <a:spcPct val="200000"/>
              </a:lnSpc>
            </a:pPr>
            <a:r>
              <a:rPr lang="es-ES" dirty="0">
                <a:latin typeface="Amasis MT Pro Light" panose="02040304050005020304" pitchFamily="18" charset="0"/>
              </a:rPr>
              <a:t>Y ahora, qué?</a:t>
            </a:r>
          </a:p>
        </p:txBody>
      </p:sp>
      <p:pic>
        <p:nvPicPr>
          <p:cNvPr id="13" name="Marcador de contenido 7">
            <a:extLst>
              <a:ext uri="{FF2B5EF4-FFF2-40B4-BE49-F238E27FC236}">
                <a16:creationId xmlns:a16="http://schemas.microsoft.com/office/drawing/2014/main" id="{29CE0C26-5A6A-8F69-ECC5-F573D73501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10400" y="0"/>
            <a:ext cx="5181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7550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87D964-EA02-FE3A-99E2-B3A68A21CB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E9B846F-F9CD-C0B8-383D-894F6A3F29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E9B846F-F9CD-C0B8-383D-894F6A3F2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7CCBD1A-AB16-E394-7E3A-5A7BF9779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20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75E8DA1-BADF-C924-7DDF-8C0D8D214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484" y="6609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Comunicación a especialistas </a:t>
            </a: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  <a:sym typeface="Wingdings" panose="05000000000000000000" pitchFamily="2" charset="2"/>
              </a:rPr>
              <a:t></a:t>
            </a: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 2024</a:t>
            </a:r>
          </a:p>
        </p:txBody>
      </p:sp>
      <p:pic>
        <p:nvPicPr>
          <p:cNvPr id="5" name="Imagen 4" descr="Texto, Carta&#10;&#10;El contenido generado por IA puede ser incorrecto.">
            <a:extLst>
              <a:ext uri="{FF2B5EF4-FFF2-40B4-BE49-F238E27FC236}">
                <a16:creationId xmlns:a16="http://schemas.microsoft.com/office/drawing/2014/main" id="{F8276A9E-25B3-3222-08ED-E228A4862E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21" y="3601328"/>
            <a:ext cx="2983419" cy="28152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Imagen 7" descr="Imagen que contiene Sitio web&#10;&#10;El contenido generado por IA puede ser incorrecto.">
            <a:extLst>
              <a:ext uri="{FF2B5EF4-FFF2-40B4-BE49-F238E27FC236}">
                <a16:creationId xmlns:a16="http://schemas.microsoft.com/office/drawing/2014/main" id="{3C53461E-3E49-F8BA-61B4-5F575910A4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21" y="703259"/>
            <a:ext cx="2983419" cy="2799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Imagen 10" descr="Carta&#10;&#10;El contenido generado por IA puede ser incorrecto.">
            <a:extLst>
              <a:ext uri="{FF2B5EF4-FFF2-40B4-BE49-F238E27FC236}">
                <a16:creationId xmlns:a16="http://schemas.microsoft.com/office/drawing/2014/main" id="{F9937AAD-9C71-134D-CFF3-DEF181C540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9" t="6283" r="23929" b="7039"/>
          <a:stretch>
            <a:fillRect/>
          </a:stretch>
        </p:blipFill>
        <p:spPr>
          <a:xfrm>
            <a:off x="3557512" y="1437021"/>
            <a:ext cx="4946465" cy="44725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4F961AFB-2203-5703-3DFB-B6918BF947BB}"/>
              </a:ext>
            </a:extLst>
          </p:cNvPr>
          <p:cNvSpPr txBox="1"/>
          <p:nvPr/>
        </p:nvSpPr>
        <p:spPr>
          <a:xfrm>
            <a:off x="8658949" y="2331974"/>
            <a:ext cx="3512587" cy="25387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Envío a prensa especializada del secto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Envío a más de 250 frutería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Varios materiales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Delantal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 err="1">
                <a:latin typeface="Arial Narrow" panose="020B0606020202030204" pitchFamily="34" charset="0"/>
                <a:sym typeface="Wingdings" panose="05000000000000000000" pitchFamily="2" charset="2"/>
              </a:rPr>
              <a:t>Info</a:t>
            </a: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 Green Queen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  <a:sym typeface="Wingdings" panose="05000000000000000000" pitchFamily="2" charset="2"/>
              </a:rPr>
              <a:t>Libro de recetas</a:t>
            </a:r>
          </a:p>
          <a:p>
            <a:pPr lvl="1">
              <a:lnSpc>
                <a:spcPct val="150000"/>
              </a:lnSpc>
            </a:pPr>
            <a:endParaRPr lang="es-ES" sz="16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842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511FFE-C88B-4F20-E5A0-5B34265C16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7B74603-81BA-15D5-DDCB-D5B7F0B309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7B74603-81BA-15D5-DDCB-D5B7F0B30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CE432E-CD8A-3C8B-4027-7753E0D0D2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21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C18B3D2-A292-5EA7-6164-C39712022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Comunicación a especialistas </a:t>
            </a: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  <a:sym typeface="Wingdings" panose="05000000000000000000" pitchFamily="2" charset="2"/>
              </a:rPr>
              <a:t></a:t>
            </a: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 2025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6D21E09D-4EF4-6AC7-2055-61A546F31F49}"/>
              </a:ext>
            </a:extLst>
          </p:cNvPr>
          <p:cNvSpPr txBox="1"/>
          <p:nvPr/>
        </p:nvSpPr>
        <p:spPr>
          <a:xfrm>
            <a:off x="237872" y="684642"/>
            <a:ext cx="4697213" cy="1061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2 envío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Diciembre (Mayoristas y 1er envío a fruteros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600" dirty="0">
                <a:latin typeface="Arial Narrow" panose="020B0606020202030204" pitchFamily="34" charset="0"/>
              </a:rPr>
              <a:t>Marzo (2do envío a fruteros)</a:t>
            </a:r>
          </a:p>
        </p:txBody>
      </p:sp>
      <p:pic>
        <p:nvPicPr>
          <p:cNvPr id="6" name="Imagen 5" descr="Imagen que contiene foto, refrigerador, tabla, posando&#10;&#10;El contenido generado por IA puede ser incorrecto.">
            <a:extLst>
              <a:ext uri="{FF2B5EF4-FFF2-40B4-BE49-F238E27FC236}">
                <a16:creationId xmlns:a16="http://schemas.microsoft.com/office/drawing/2014/main" id="{B42557EC-BC97-A3EC-B0A1-277BB50070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8" r="7912"/>
          <a:stretch>
            <a:fillRect/>
          </a:stretch>
        </p:blipFill>
        <p:spPr>
          <a:xfrm>
            <a:off x="139538" y="2246588"/>
            <a:ext cx="4697213" cy="434381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Imagen 8" descr="Una captura de pantalla de un celular con texto e imagen&#10;&#10;El contenido generado por IA puede ser incorrecto.">
            <a:extLst>
              <a:ext uri="{FF2B5EF4-FFF2-40B4-BE49-F238E27FC236}">
                <a16:creationId xmlns:a16="http://schemas.microsoft.com/office/drawing/2014/main" id="{F3108BE5-E73E-3A05-BB7B-D1FCD2D610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6058" y="1472873"/>
            <a:ext cx="5420838" cy="38249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Imagen 11" descr="Imagen que contiene tabla, fruta&#10;&#10;El contenido generado por IA puede ser incorrecto.">
            <a:extLst>
              <a:ext uri="{FF2B5EF4-FFF2-40B4-BE49-F238E27FC236}">
                <a16:creationId xmlns:a16="http://schemas.microsoft.com/office/drawing/2014/main" id="{6360F4CF-6D7F-4C1D-6031-7B6BDF1392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9319" y="4156517"/>
            <a:ext cx="1890071" cy="24338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Imagen 19" descr="Calendario&#10;&#10;El contenido generado por IA puede ser incorrecto.">
            <a:extLst>
              <a:ext uri="{FF2B5EF4-FFF2-40B4-BE49-F238E27FC236}">
                <a16:creationId xmlns:a16="http://schemas.microsoft.com/office/drawing/2014/main" id="{8E8414F1-75C0-F6D1-9212-DCC73ECE70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71" t="10093" r="17918" b="13236"/>
          <a:stretch>
            <a:fillRect/>
          </a:stretch>
        </p:blipFill>
        <p:spPr>
          <a:xfrm>
            <a:off x="5033419" y="1428292"/>
            <a:ext cx="1418436" cy="19280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455213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B9E2F-9E25-A75E-ECB2-E077DFD073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7902B0-CBA9-205F-2360-A395D2DDEE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7902B0-CBA9-205F-2360-A395D2DDE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396D5-3D35-6E35-E09E-1268AEABDE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22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3A6201C4-4880-6E5D-4E44-1C6D20CFF81A}"/>
              </a:ext>
            </a:extLst>
          </p:cNvPr>
          <p:cNvSpPr txBox="1"/>
          <p:nvPr/>
        </p:nvSpPr>
        <p:spPr>
          <a:xfrm>
            <a:off x="419121" y="1182069"/>
            <a:ext cx="3712342" cy="2908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285750" indent="-285750">
              <a:lnSpc>
                <a:spcPct val="150000"/>
              </a:lnSpc>
              <a:buFont typeface="Wingdings" panose="05000000000000000000" pitchFamily="2" charset="2"/>
              <a:buChar char="ü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s-ES" dirty="0"/>
              <a:t>El mercado tiene un mayor conocimiento de lo que es Green Queen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Del producto final al origen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Ponemos la agricultura en el centro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Estamos orgullosos de lo que hacemos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8AF2BCD3-CF6E-8B25-5DEC-C4EAF14F2B71}"/>
              </a:ext>
            </a:extLst>
          </p:cNvPr>
          <p:cNvGrpSpPr/>
          <p:nvPr/>
        </p:nvGrpSpPr>
        <p:grpSpPr>
          <a:xfrm>
            <a:off x="4822170" y="628071"/>
            <a:ext cx="7687256" cy="4779264"/>
            <a:chOff x="406340" y="192002"/>
            <a:chExt cx="7687256" cy="4779264"/>
          </a:xfrm>
        </p:grpSpPr>
        <p:pic>
          <p:nvPicPr>
            <p:cNvPr id="9" name="Imagen 8" descr="Mano sosteniendo una fruta de color verde&#10;&#10;El contenido generado por IA puede ser incorrecto.">
              <a:extLst>
                <a:ext uri="{FF2B5EF4-FFF2-40B4-BE49-F238E27FC236}">
                  <a16:creationId xmlns:a16="http://schemas.microsoft.com/office/drawing/2014/main" id="{1C3F3CC7-2FEB-7F85-FCE4-C7E06BA042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340" y="226508"/>
              <a:ext cx="7114913" cy="474475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3664552D-31D1-47DE-D415-12A8958D3AD3}"/>
                </a:ext>
              </a:extLst>
            </p:cNvPr>
            <p:cNvSpPr txBox="1"/>
            <p:nvPr/>
          </p:nvSpPr>
          <p:spPr>
            <a:xfrm>
              <a:off x="4014558" y="192002"/>
              <a:ext cx="407903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6600" dirty="0">
                  <a:solidFill>
                    <a:schemeClr val="bg1">
                      <a:lumMod val="95000"/>
                    </a:schemeClr>
                  </a:solidFill>
                  <a:latin typeface="Edwardian Script ITC" panose="030303020407070D0804" pitchFamily="66" charset="0"/>
                </a:rPr>
                <a:t>Larga Vida</a:t>
              </a:r>
            </a:p>
          </p:txBody>
        </p:sp>
      </p:grpSp>
      <p:sp>
        <p:nvSpPr>
          <p:cNvPr id="16" name="Titel 9">
            <a:extLst>
              <a:ext uri="{FF2B5EF4-FFF2-40B4-BE49-F238E27FC236}">
                <a16:creationId xmlns:a16="http://schemas.microsoft.com/office/drawing/2014/main" id="{24A4D6AD-B82F-BBFF-4A0D-8328803E14FB}"/>
              </a:ext>
            </a:extLst>
          </p:cNvPr>
          <p:cNvSpPr txBox="1">
            <a:spLocks/>
          </p:cNvSpPr>
          <p:nvPr/>
        </p:nvSpPr>
        <p:spPr>
          <a:xfrm>
            <a:off x="218306" y="130861"/>
            <a:ext cx="11736386" cy="4972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2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es-ES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Y ahora? Volvemos al origen</a:t>
            </a:r>
          </a:p>
        </p:txBody>
      </p:sp>
      <p:pic>
        <p:nvPicPr>
          <p:cNvPr id="4" name="Video Nunhems">
            <a:hlinkClick r:id="" action="ppaction://media"/>
            <a:extLst>
              <a:ext uri="{FF2B5EF4-FFF2-40B4-BE49-F238E27FC236}">
                <a16:creationId xmlns:a16="http://schemas.microsoft.com/office/drawing/2014/main" id="{1EFE2334-D532-78E8-6530-D8363D8A9D55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9050" y="0"/>
            <a:ext cx="12190413" cy="690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984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par>
              <p:cTn id="16"/>
            </p:par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  <p:bldLst>
      <p:bldP spid="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23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" name="Imagen 4" descr="Un jardín con plantas&#10;&#10;El contenido generado por IA puede ser incorrecto.">
            <a:extLst>
              <a:ext uri="{FF2B5EF4-FFF2-40B4-BE49-F238E27FC236}">
                <a16:creationId xmlns:a16="http://schemas.microsoft.com/office/drawing/2014/main" id="{6C753301-13B8-5E43-B900-5546B439D4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73" b="3078"/>
          <a:stretch>
            <a:fillRect/>
          </a:stretch>
        </p:blipFill>
        <p:spPr>
          <a:xfrm>
            <a:off x="-6571" y="0"/>
            <a:ext cx="12196984" cy="7082287"/>
          </a:xfrm>
          <a:prstGeom prst="rect">
            <a:avLst/>
          </a:prstGeom>
        </p:spPr>
      </p:pic>
      <p:sp>
        <p:nvSpPr>
          <p:cNvPr id="8" name="Titel 9">
            <a:extLst>
              <a:ext uri="{FF2B5EF4-FFF2-40B4-BE49-F238E27FC236}">
                <a16:creationId xmlns:a16="http://schemas.microsoft.com/office/drawing/2014/main" id="{DD0AA096-6313-96AA-F56E-F54DCBBE3549}"/>
              </a:ext>
            </a:extLst>
          </p:cNvPr>
          <p:cNvSpPr txBox="1">
            <a:spLocks/>
          </p:cNvSpPr>
          <p:nvPr/>
        </p:nvSpPr>
        <p:spPr>
          <a:xfrm>
            <a:off x="97698" y="70352"/>
            <a:ext cx="6333085" cy="4972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71585" rtl="0" eaLnBrk="1" latinLnBrk="0" hangingPunct="1">
              <a:lnSpc>
                <a:spcPct val="100000"/>
              </a:lnSpc>
              <a:spcBef>
                <a:spcPts val="93"/>
              </a:spcBef>
              <a:spcAft>
                <a:spcPts val="93"/>
              </a:spcAft>
              <a:buNone/>
              <a:defRPr sz="2363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Green Queen, la base de un largo camino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42DB0BCC-D5B1-F7D7-E1F6-A8789F1F29DC}"/>
              </a:ext>
            </a:extLst>
          </p:cNvPr>
          <p:cNvGrpSpPr/>
          <p:nvPr/>
        </p:nvGrpSpPr>
        <p:grpSpPr>
          <a:xfrm>
            <a:off x="8747462" y="0"/>
            <a:ext cx="3547220" cy="958583"/>
            <a:chOff x="4373187" y="2983576"/>
            <a:chExt cx="3547220" cy="958583"/>
          </a:xfrm>
        </p:grpSpPr>
        <p:pic>
          <p:nvPicPr>
            <p:cNvPr id="12" name="Imagen 11" descr="Texto&#10;&#10;El contenido generado por IA puede ser incorrecto.">
              <a:extLst>
                <a:ext uri="{FF2B5EF4-FFF2-40B4-BE49-F238E27FC236}">
                  <a16:creationId xmlns:a16="http://schemas.microsoft.com/office/drawing/2014/main" id="{C82A0047-65AA-FD32-0C00-395938226A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932" b="89384" l="6940" r="92559">
                          <a14:foregroundMark x1="11455" y1="32877" x2="11455" y2="32877"/>
                          <a14:foregroundMark x1="6940" y1="31507" x2="6940" y2="31507"/>
                          <a14:foregroundMark x1="16388" y1="38014" x2="16388" y2="38014"/>
                          <a14:foregroundMark x1="32441" y1="32534" x2="32441" y2="32534"/>
                          <a14:foregroundMark x1="38043" y1="28767" x2="38043" y2="28767"/>
                          <a14:foregroundMark x1="48579" y1="19521" x2="48579" y2="19521"/>
                          <a14:foregroundMark x1="55769" y1="54452" x2="55769" y2="54452"/>
                          <a14:foregroundMark x1="60535" y1="50342" x2="60535" y2="50342"/>
                          <a14:foregroundMark x1="65468" y1="52055" x2="65468" y2="52055"/>
                          <a14:foregroundMark x1="70903" y1="52055" x2="70903" y2="52055"/>
                          <a14:foregroundMark x1="75920" y1="52397" x2="75920" y2="52397"/>
                          <a14:foregroundMark x1="81020" y1="50685" x2="81020" y2="50685"/>
                          <a14:foregroundMark x1="88712" y1="47603" x2="88712" y2="47603"/>
                          <a14:foregroundMark x1="87793" y1="41438" x2="87793" y2="41438"/>
                          <a14:foregroundMark x1="92559" y1="44521" x2="92559" y2="44521"/>
                          <a14:backgroundMark x1="22241" y1="32877" x2="22241" y2="32877"/>
                          <a14:backgroundMark x1="22324" y1="42466" x2="22324" y2="42466"/>
                          <a14:backgroundMark x1="28177" y1="38699" x2="28177" y2="38699"/>
                          <a14:backgroundMark x1="77425" y1="51027" x2="77425" y2="51027"/>
                          <a14:backgroundMark x1="89883" y1="25000" x2="89883" y2="25000"/>
                          <a14:backgroundMark x1="90468" y1="27740" x2="90468" y2="27740"/>
                          <a14:backgroundMark x1="92391" y1="46575" x2="92391" y2="4657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591"/>
            <a:stretch>
              <a:fillRect/>
            </a:stretch>
          </p:blipFill>
          <p:spPr>
            <a:xfrm>
              <a:off x="5935133" y="2983576"/>
              <a:ext cx="1985274" cy="890847"/>
            </a:xfrm>
            <a:prstGeom prst="rect">
              <a:avLst/>
            </a:prstGeom>
          </p:spPr>
        </p:pic>
        <p:pic>
          <p:nvPicPr>
            <p:cNvPr id="13" name="Imagen 12" descr="Texto&#10;&#10;El contenido generado por IA puede ser incorrecto.">
              <a:extLst>
                <a:ext uri="{FF2B5EF4-FFF2-40B4-BE49-F238E27FC236}">
                  <a16:creationId xmlns:a16="http://schemas.microsoft.com/office/drawing/2014/main" id="{53D6ACB4-91EB-D007-6770-5D72AF713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932" b="89384" l="6940" r="92559">
                          <a14:foregroundMark x1="11455" y1="32877" x2="11455" y2="32877"/>
                          <a14:foregroundMark x1="6940" y1="31507" x2="6940" y2="31507"/>
                          <a14:foregroundMark x1="16388" y1="38014" x2="16388" y2="38014"/>
                          <a14:foregroundMark x1="32441" y1="32534" x2="32441" y2="32534"/>
                          <a14:foregroundMark x1="38043" y1="28767" x2="38043" y2="28767"/>
                          <a14:foregroundMark x1="48579" y1="19521" x2="48579" y2="19521"/>
                          <a14:foregroundMark x1="55769" y1="54452" x2="55769" y2="54452"/>
                          <a14:foregroundMark x1="60535" y1="50342" x2="60535" y2="50342"/>
                          <a14:foregroundMark x1="65468" y1="52055" x2="65468" y2="52055"/>
                          <a14:foregroundMark x1="70903" y1="52055" x2="70903" y2="52055"/>
                          <a14:foregroundMark x1="75920" y1="52397" x2="75920" y2="52397"/>
                          <a14:foregroundMark x1="81020" y1="50685" x2="81020" y2="50685"/>
                          <a14:foregroundMark x1="88712" y1="47603" x2="88712" y2="47603"/>
                          <a14:foregroundMark x1="87793" y1="41438" x2="87793" y2="41438"/>
                          <a14:foregroundMark x1="92559" y1="44521" x2="92559" y2="44521"/>
                          <a14:backgroundMark x1="22241" y1="32877" x2="22241" y2="32877"/>
                          <a14:backgroundMark x1="22324" y1="42466" x2="22324" y2="42466"/>
                          <a14:backgroundMark x1="28177" y1="38699" x2="28177" y2="38699"/>
                          <a14:backgroundMark x1="77425" y1="51027" x2="77425" y2="51027"/>
                          <a14:backgroundMark x1="89883" y1="25000" x2="89883" y2="25000"/>
                          <a14:backgroundMark x1="90468" y1="27740" x2="90468" y2="27740"/>
                          <a14:backgroundMark x1="92391" y1="46575" x2="92391" y2="4657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6" t="-5360" r="54289" b="5360"/>
            <a:stretch>
              <a:fillRect/>
            </a:stretch>
          </p:blipFill>
          <p:spPr>
            <a:xfrm>
              <a:off x="4373187" y="3051312"/>
              <a:ext cx="1481974" cy="8908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0110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7F516-6EFB-6BE5-7213-E8C40A989E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288C1FD-181F-0D33-524F-E2FF1DBD2F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288C1FD-181F-0D33-524F-E2FF1DBD2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C78795A-AB3F-DF66-EFDB-EB03C387D0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3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A9F8CF-D4A9-7F6E-AC45-5ED6417939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457E148B-901C-55FE-D9A7-50A2930E7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59436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Propuesta</a:t>
            </a:r>
          </a:p>
        </p:txBody>
      </p:sp>
      <p:pic>
        <p:nvPicPr>
          <p:cNvPr id="5" name="Imagen 4" descr="Una rama con hojas verdes&#10;&#10;El contenido generado por IA puede ser incorrecto.">
            <a:extLst>
              <a:ext uri="{FF2B5EF4-FFF2-40B4-BE49-F238E27FC236}">
                <a16:creationId xmlns:a16="http://schemas.microsoft.com/office/drawing/2014/main" id="{8465DA43-1FC2-E487-2FC6-954000ECBE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90" b="977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9">
            <a:extLst>
              <a:ext uri="{FF2B5EF4-FFF2-40B4-BE49-F238E27FC236}">
                <a16:creationId xmlns:a16="http://schemas.microsoft.com/office/drawing/2014/main" id="{FB43319C-12FA-B3F5-0E19-3DBB5A43C749}"/>
              </a:ext>
            </a:extLst>
          </p:cNvPr>
          <p:cNvSpPr txBox="1">
            <a:spLocks/>
          </p:cNvSpPr>
          <p:nvPr/>
        </p:nvSpPr>
        <p:spPr>
          <a:xfrm>
            <a:off x="518764" y="6832"/>
            <a:ext cx="2752894" cy="4972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2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i="1" dirty="0">
                <a:solidFill>
                  <a:srgbClr val="F3950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Quién somos?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19933E1-01C8-05AB-9551-47B5C93C725A}"/>
              </a:ext>
            </a:extLst>
          </p:cNvPr>
          <p:cNvSpPr txBox="1"/>
          <p:nvPr/>
        </p:nvSpPr>
        <p:spPr>
          <a:xfrm>
            <a:off x="9105089" y="5564222"/>
            <a:ext cx="542873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000" dirty="0">
                <a:solidFill>
                  <a:schemeClr val="bg1">
                    <a:lumMod val="95000"/>
                  </a:schemeClr>
                </a:solidFill>
                <a:latin typeface="Edwardian Script ITC" panose="030303020407070D0804" pitchFamily="66" charset="0"/>
              </a:rPr>
              <a:t>Larga Vida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C5E72C20-3488-61FD-2D09-E628C36CDEDB}"/>
              </a:ext>
            </a:extLst>
          </p:cNvPr>
          <p:cNvGrpSpPr/>
          <p:nvPr/>
        </p:nvGrpSpPr>
        <p:grpSpPr>
          <a:xfrm>
            <a:off x="8600250" y="774575"/>
            <a:ext cx="3547220" cy="958583"/>
            <a:chOff x="4373187" y="2983576"/>
            <a:chExt cx="3547220" cy="958583"/>
          </a:xfrm>
        </p:grpSpPr>
        <p:pic>
          <p:nvPicPr>
            <p:cNvPr id="14" name="Imagen 13" descr="Texto&#10;&#10;El contenido generado por IA puede ser incorrecto.">
              <a:extLst>
                <a:ext uri="{FF2B5EF4-FFF2-40B4-BE49-F238E27FC236}">
                  <a16:creationId xmlns:a16="http://schemas.microsoft.com/office/drawing/2014/main" id="{4E69580B-4323-9416-E34C-7E1F79E2BC5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9932" b="89384" l="6940" r="92559">
                          <a14:foregroundMark x1="11455" y1="32877" x2="11455" y2="32877"/>
                          <a14:foregroundMark x1="6940" y1="31507" x2="6940" y2="31507"/>
                          <a14:foregroundMark x1="16388" y1="38014" x2="16388" y2="38014"/>
                          <a14:foregroundMark x1="32441" y1="32534" x2="32441" y2="32534"/>
                          <a14:foregroundMark x1="38043" y1="28767" x2="38043" y2="28767"/>
                          <a14:foregroundMark x1="48579" y1="19521" x2="48579" y2="19521"/>
                          <a14:foregroundMark x1="55769" y1="54452" x2="55769" y2="54452"/>
                          <a14:foregroundMark x1="60535" y1="50342" x2="60535" y2="50342"/>
                          <a14:foregroundMark x1="65468" y1="52055" x2="65468" y2="52055"/>
                          <a14:foregroundMark x1="70903" y1="52055" x2="70903" y2="52055"/>
                          <a14:foregroundMark x1="75920" y1="52397" x2="75920" y2="52397"/>
                          <a14:foregroundMark x1="81020" y1="50685" x2="81020" y2="50685"/>
                          <a14:foregroundMark x1="88712" y1="47603" x2="88712" y2="47603"/>
                          <a14:foregroundMark x1="87793" y1="41438" x2="87793" y2="41438"/>
                          <a14:foregroundMark x1="92559" y1="44521" x2="92559" y2="44521"/>
                          <a14:backgroundMark x1="22241" y1="32877" x2="22241" y2="32877"/>
                          <a14:backgroundMark x1="22324" y1="42466" x2="22324" y2="42466"/>
                          <a14:backgroundMark x1="28177" y1="38699" x2="28177" y2="38699"/>
                          <a14:backgroundMark x1="77425" y1="51027" x2="77425" y2="51027"/>
                          <a14:backgroundMark x1="89883" y1="25000" x2="89883" y2="25000"/>
                          <a14:backgroundMark x1="90468" y1="27740" x2="90468" y2="27740"/>
                          <a14:backgroundMark x1="92391" y1="46575" x2="92391" y2="4657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591"/>
            <a:stretch>
              <a:fillRect/>
            </a:stretch>
          </p:blipFill>
          <p:spPr>
            <a:xfrm>
              <a:off x="5935133" y="2983576"/>
              <a:ext cx="1985274" cy="890847"/>
            </a:xfrm>
            <a:prstGeom prst="rect">
              <a:avLst/>
            </a:prstGeom>
          </p:spPr>
        </p:pic>
        <p:pic>
          <p:nvPicPr>
            <p:cNvPr id="15" name="Imagen 14" descr="Texto&#10;&#10;El contenido generado por IA puede ser incorrecto.">
              <a:extLst>
                <a:ext uri="{FF2B5EF4-FFF2-40B4-BE49-F238E27FC236}">
                  <a16:creationId xmlns:a16="http://schemas.microsoft.com/office/drawing/2014/main" id="{E71BDECA-889E-A641-7292-50CA6BCB9AF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9932" b="89384" l="6940" r="92559">
                          <a14:foregroundMark x1="11455" y1="32877" x2="11455" y2="32877"/>
                          <a14:foregroundMark x1="6940" y1="31507" x2="6940" y2="31507"/>
                          <a14:foregroundMark x1="16388" y1="38014" x2="16388" y2="38014"/>
                          <a14:foregroundMark x1="32441" y1="32534" x2="32441" y2="32534"/>
                          <a14:foregroundMark x1="38043" y1="28767" x2="38043" y2="28767"/>
                          <a14:foregroundMark x1="48579" y1="19521" x2="48579" y2="19521"/>
                          <a14:foregroundMark x1="55769" y1="54452" x2="55769" y2="54452"/>
                          <a14:foregroundMark x1="60535" y1="50342" x2="60535" y2="50342"/>
                          <a14:foregroundMark x1="65468" y1="52055" x2="65468" y2="52055"/>
                          <a14:foregroundMark x1="70903" y1="52055" x2="70903" y2="52055"/>
                          <a14:foregroundMark x1="75920" y1="52397" x2="75920" y2="52397"/>
                          <a14:foregroundMark x1="81020" y1="50685" x2="81020" y2="50685"/>
                          <a14:foregroundMark x1="88712" y1="47603" x2="88712" y2="47603"/>
                          <a14:foregroundMark x1="87793" y1="41438" x2="87793" y2="41438"/>
                          <a14:foregroundMark x1="92559" y1="44521" x2="92559" y2="44521"/>
                          <a14:backgroundMark x1="22241" y1="32877" x2="22241" y2="32877"/>
                          <a14:backgroundMark x1="22324" y1="42466" x2="22324" y2="42466"/>
                          <a14:backgroundMark x1="28177" y1="38699" x2="28177" y2="38699"/>
                          <a14:backgroundMark x1="77425" y1="51027" x2="77425" y2="51027"/>
                          <a14:backgroundMark x1="89883" y1="25000" x2="89883" y2="25000"/>
                          <a14:backgroundMark x1="90468" y1="27740" x2="90468" y2="27740"/>
                          <a14:backgroundMark x1="92391" y1="46575" x2="92391" y2="4657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6" t="-5360" r="54289" b="5360"/>
            <a:stretch>
              <a:fillRect/>
            </a:stretch>
          </p:blipFill>
          <p:spPr>
            <a:xfrm>
              <a:off x="4373187" y="3051312"/>
              <a:ext cx="1481974" cy="8908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2817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4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Nuestro camino hasta ser BASF Nunhems</a:t>
            </a:r>
          </a:p>
        </p:txBody>
      </p:sp>
      <p:pic>
        <p:nvPicPr>
          <p:cNvPr id="38" name="Picture 5">
            <a:extLst>
              <a:ext uri="{FF2B5EF4-FFF2-40B4-BE49-F238E27FC236}">
                <a16:creationId xmlns:a16="http://schemas.microsoft.com/office/drawing/2014/main" id="{01151B0D-97A1-2203-AEED-572FFAE66AE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71864"/>
            <a:ext cx="7623949" cy="4199140"/>
          </a:xfrm>
          <a:prstGeom prst="rect">
            <a:avLst/>
          </a:prstGeom>
        </p:spPr>
      </p:pic>
      <p:grpSp>
        <p:nvGrpSpPr>
          <p:cNvPr id="39" name="Gruppieren 80">
            <a:extLst>
              <a:ext uri="{FF2B5EF4-FFF2-40B4-BE49-F238E27FC236}">
                <a16:creationId xmlns:a16="http://schemas.microsoft.com/office/drawing/2014/main" id="{1E28149E-7CC5-0AEF-EE38-8F993B7D18DA}"/>
              </a:ext>
            </a:extLst>
          </p:cNvPr>
          <p:cNvGrpSpPr/>
          <p:nvPr/>
        </p:nvGrpSpPr>
        <p:grpSpPr>
          <a:xfrm>
            <a:off x="394254" y="2130100"/>
            <a:ext cx="3824206" cy="318728"/>
            <a:chOff x="468312" y="2354989"/>
            <a:chExt cx="4538884" cy="378751"/>
          </a:xfrm>
        </p:grpSpPr>
        <p:sp>
          <p:nvSpPr>
            <p:cNvPr id="40" name="Textfeld 7">
              <a:extLst>
                <a:ext uri="{FF2B5EF4-FFF2-40B4-BE49-F238E27FC236}">
                  <a16:creationId xmlns:a16="http://schemas.microsoft.com/office/drawing/2014/main" id="{1F175B84-3651-DC32-E6C7-8E7A49947EFC}"/>
                </a:ext>
              </a:extLst>
            </p:cNvPr>
            <p:cNvSpPr txBox="1"/>
            <p:nvPr/>
          </p:nvSpPr>
          <p:spPr bwMode="gray">
            <a:xfrm>
              <a:off x="468313" y="2355326"/>
              <a:ext cx="1042376" cy="24288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1857" b="1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1916 –</a:t>
              </a:r>
            </a:p>
          </p:txBody>
        </p:sp>
        <p:sp>
          <p:nvSpPr>
            <p:cNvPr id="41" name="Textfeld 20">
              <a:extLst>
                <a:ext uri="{FF2B5EF4-FFF2-40B4-BE49-F238E27FC236}">
                  <a16:creationId xmlns:a16="http://schemas.microsoft.com/office/drawing/2014/main" id="{6E7F5687-A844-D14D-A7FE-39B14B10F477}"/>
                </a:ext>
              </a:extLst>
            </p:cNvPr>
            <p:cNvSpPr txBox="1"/>
            <p:nvPr/>
          </p:nvSpPr>
          <p:spPr bwMode="gray">
            <a:xfrm>
              <a:off x="1381832" y="2354989"/>
              <a:ext cx="789868" cy="24288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1857" b="1" dirty="0">
                  <a:solidFill>
                    <a:srgbClr val="EC6B00"/>
                  </a:solidFill>
                  <a:latin typeface="Arial" panose="020B0604020202020204"/>
                  <a:cs typeface="Arial"/>
                </a:rPr>
                <a:t>1981</a:t>
              </a:r>
            </a:p>
          </p:txBody>
        </p:sp>
        <p:cxnSp>
          <p:nvCxnSpPr>
            <p:cNvPr id="42" name="Gerade Verbindung 14">
              <a:extLst>
                <a:ext uri="{FF2B5EF4-FFF2-40B4-BE49-F238E27FC236}">
                  <a16:creationId xmlns:a16="http://schemas.microsoft.com/office/drawing/2014/main" id="{9EFA0B6E-4867-5081-D010-9F2A0A225648}"/>
                </a:ext>
              </a:extLst>
            </p:cNvPr>
            <p:cNvCxnSpPr/>
            <p:nvPr/>
          </p:nvCxnSpPr>
          <p:spPr bwMode="gray">
            <a:xfrm>
              <a:off x="468312" y="2697000"/>
              <a:ext cx="3898901" cy="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32">
              <a:extLst>
                <a:ext uri="{FF2B5EF4-FFF2-40B4-BE49-F238E27FC236}">
                  <a16:creationId xmlns:a16="http://schemas.microsoft.com/office/drawing/2014/main" id="{5EB6C13B-0D5F-6F0E-02B5-AE8CB258BFEC}"/>
                </a:ext>
              </a:extLst>
            </p:cNvPr>
            <p:cNvSpPr txBox="1"/>
            <p:nvPr/>
          </p:nvSpPr>
          <p:spPr bwMode="gray">
            <a:xfrm>
              <a:off x="2399976" y="2387991"/>
              <a:ext cx="2607220" cy="34574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1519" dirty="0" err="1">
                  <a:solidFill>
                    <a:srgbClr val="FFFFFF"/>
                  </a:solidFill>
                  <a:latin typeface="Arial" panose="020B0604020202020204"/>
                  <a:cs typeface="Arial"/>
                </a:rPr>
                <a:t>Meddens</a:t>
              </a:r>
              <a:r>
                <a:rPr lang="de-DE" sz="1519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de-DE" sz="1013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(</a:t>
              </a:r>
              <a:r>
                <a:rPr lang="de-DE" sz="1013" dirty="0" err="1">
                  <a:solidFill>
                    <a:srgbClr val="FFFFFF"/>
                  </a:solidFill>
                  <a:latin typeface="Arial" panose="020B0604020202020204"/>
                  <a:cs typeface="Arial"/>
                </a:rPr>
                <a:t>family-owned</a:t>
              </a:r>
              <a:r>
                <a:rPr lang="de-DE" sz="1013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)</a:t>
              </a:r>
            </a:p>
          </p:txBody>
        </p:sp>
      </p:grpSp>
      <p:grpSp>
        <p:nvGrpSpPr>
          <p:cNvPr id="44" name="Gruppieren 31">
            <a:extLst>
              <a:ext uri="{FF2B5EF4-FFF2-40B4-BE49-F238E27FC236}">
                <a16:creationId xmlns:a16="http://schemas.microsoft.com/office/drawing/2014/main" id="{29E6D9F7-7784-701C-CA77-21F61E42B3D4}"/>
              </a:ext>
            </a:extLst>
          </p:cNvPr>
          <p:cNvGrpSpPr/>
          <p:nvPr/>
        </p:nvGrpSpPr>
        <p:grpSpPr>
          <a:xfrm>
            <a:off x="394254" y="2638070"/>
            <a:ext cx="3824206" cy="327631"/>
            <a:chOff x="468312" y="2955221"/>
            <a:chExt cx="4538884" cy="389332"/>
          </a:xfrm>
        </p:grpSpPr>
        <p:grpSp>
          <p:nvGrpSpPr>
            <p:cNvPr id="45" name="Gruppieren 9">
              <a:extLst>
                <a:ext uri="{FF2B5EF4-FFF2-40B4-BE49-F238E27FC236}">
                  <a16:creationId xmlns:a16="http://schemas.microsoft.com/office/drawing/2014/main" id="{EFCB919B-A7DB-DA6A-5CA7-7FBEE467440A}"/>
                </a:ext>
              </a:extLst>
            </p:cNvPr>
            <p:cNvGrpSpPr/>
            <p:nvPr/>
          </p:nvGrpSpPr>
          <p:grpSpPr>
            <a:xfrm>
              <a:off x="468313" y="2955221"/>
              <a:ext cx="1742242" cy="243196"/>
              <a:chOff x="468313" y="2402580"/>
              <a:chExt cx="1742242" cy="243196"/>
            </a:xfrm>
          </p:grpSpPr>
          <p:sp>
            <p:nvSpPr>
              <p:cNvPr id="48" name="Textfeld 21">
                <a:extLst>
                  <a:ext uri="{FF2B5EF4-FFF2-40B4-BE49-F238E27FC236}">
                    <a16:creationId xmlns:a16="http://schemas.microsoft.com/office/drawing/2014/main" id="{84E1511B-DFF5-F0BD-ED5B-C94466519488}"/>
                  </a:ext>
                </a:extLst>
              </p:cNvPr>
              <p:cNvSpPr txBox="1"/>
              <p:nvPr/>
            </p:nvSpPr>
            <p:spPr bwMode="gray">
              <a:xfrm>
                <a:off x="468313" y="2402888"/>
                <a:ext cx="1005753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FFFFFF"/>
                    </a:solidFill>
                    <a:latin typeface="Arial" panose="020B0604020202020204"/>
                    <a:cs typeface="Arial"/>
                  </a:rPr>
                  <a:t>1981 –</a:t>
                </a:r>
              </a:p>
            </p:txBody>
          </p:sp>
          <p:sp>
            <p:nvSpPr>
              <p:cNvPr id="49" name="Textfeld 22">
                <a:extLst>
                  <a:ext uri="{FF2B5EF4-FFF2-40B4-BE49-F238E27FC236}">
                    <a16:creationId xmlns:a16="http://schemas.microsoft.com/office/drawing/2014/main" id="{0DE2E138-334A-97D8-4507-6D579ABD9F54}"/>
                  </a:ext>
                </a:extLst>
              </p:cNvPr>
              <p:cNvSpPr txBox="1"/>
              <p:nvPr/>
            </p:nvSpPr>
            <p:spPr bwMode="gray">
              <a:xfrm>
                <a:off x="1381832" y="2402580"/>
                <a:ext cx="828723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EC6B00"/>
                    </a:solidFill>
                    <a:latin typeface="Arial" panose="020B0604020202020204"/>
                    <a:cs typeface="Arial"/>
                  </a:rPr>
                  <a:t>1986</a:t>
                </a:r>
              </a:p>
            </p:txBody>
          </p:sp>
        </p:grpSp>
        <p:cxnSp>
          <p:nvCxnSpPr>
            <p:cNvPr id="46" name="Gerade Verbindung 42">
              <a:extLst>
                <a:ext uri="{FF2B5EF4-FFF2-40B4-BE49-F238E27FC236}">
                  <a16:creationId xmlns:a16="http://schemas.microsoft.com/office/drawing/2014/main" id="{07C5357F-6C98-A80F-A36C-F11B617EBE15}"/>
                </a:ext>
              </a:extLst>
            </p:cNvPr>
            <p:cNvCxnSpPr/>
            <p:nvPr/>
          </p:nvCxnSpPr>
          <p:spPr bwMode="gray">
            <a:xfrm>
              <a:off x="468312" y="3295843"/>
              <a:ext cx="3898901" cy="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feld 51">
              <a:extLst>
                <a:ext uri="{FF2B5EF4-FFF2-40B4-BE49-F238E27FC236}">
                  <a16:creationId xmlns:a16="http://schemas.microsoft.com/office/drawing/2014/main" id="{3915B9E7-DEAA-DB45-1AE1-5E13CCFB7E83}"/>
                </a:ext>
              </a:extLst>
            </p:cNvPr>
            <p:cNvSpPr txBox="1"/>
            <p:nvPr/>
          </p:nvSpPr>
          <p:spPr bwMode="gray">
            <a:xfrm>
              <a:off x="2399976" y="2998804"/>
              <a:ext cx="2607220" cy="34574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1519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Hendrix </a:t>
              </a:r>
              <a:r>
                <a:rPr lang="de-DE" sz="1013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(</a:t>
              </a:r>
              <a:r>
                <a:rPr lang="de-DE" sz="1013" dirty="0" err="1">
                  <a:solidFill>
                    <a:srgbClr val="FFFFFF"/>
                  </a:solidFill>
                  <a:latin typeface="Arial" panose="020B0604020202020204"/>
                  <a:cs typeface="Arial"/>
                </a:rPr>
                <a:t>privately-owned</a:t>
              </a:r>
              <a:r>
                <a:rPr lang="de-DE" sz="1013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)</a:t>
              </a:r>
              <a:endParaRPr lang="de-DE" sz="1519" dirty="0">
                <a:solidFill>
                  <a:srgbClr val="FFFFFF"/>
                </a:solidFill>
                <a:latin typeface="Arial" panose="020B0604020202020204"/>
                <a:cs typeface="Arial"/>
              </a:endParaRPr>
            </a:p>
          </p:txBody>
        </p:sp>
      </p:grpSp>
      <p:grpSp>
        <p:nvGrpSpPr>
          <p:cNvPr id="50" name="Gruppieren 30">
            <a:extLst>
              <a:ext uri="{FF2B5EF4-FFF2-40B4-BE49-F238E27FC236}">
                <a16:creationId xmlns:a16="http://schemas.microsoft.com/office/drawing/2014/main" id="{0EED8999-79AF-8C49-3EDF-786A638AA233}"/>
              </a:ext>
            </a:extLst>
          </p:cNvPr>
          <p:cNvGrpSpPr/>
          <p:nvPr/>
        </p:nvGrpSpPr>
        <p:grpSpPr>
          <a:xfrm>
            <a:off x="394254" y="3154944"/>
            <a:ext cx="3284993" cy="321751"/>
            <a:chOff x="468312" y="3558671"/>
            <a:chExt cx="3898901" cy="382344"/>
          </a:xfrm>
        </p:grpSpPr>
        <p:grpSp>
          <p:nvGrpSpPr>
            <p:cNvPr id="51" name="Gruppieren 10">
              <a:extLst>
                <a:ext uri="{FF2B5EF4-FFF2-40B4-BE49-F238E27FC236}">
                  <a16:creationId xmlns:a16="http://schemas.microsoft.com/office/drawing/2014/main" id="{F805BD0D-A159-9A51-A86D-A252BCA0B041}"/>
                </a:ext>
              </a:extLst>
            </p:cNvPr>
            <p:cNvGrpSpPr/>
            <p:nvPr/>
          </p:nvGrpSpPr>
          <p:grpSpPr>
            <a:xfrm>
              <a:off x="468313" y="3558671"/>
              <a:ext cx="1644323" cy="243284"/>
              <a:chOff x="468313" y="3075070"/>
              <a:chExt cx="1644323" cy="243284"/>
            </a:xfrm>
          </p:grpSpPr>
          <p:sp>
            <p:nvSpPr>
              <p:cNvPr id="54" name="Textfeld 23">
                <a:extLst>
                  <a:ext uri="{FF2B5EF4-FFF2-40B4-BE49-F238E27FC236}">
                    <a16:creationId xmlns:a16="http://schemas.microsoft.com/office/drawing/2014/main" id="{5E372DFC-8F62-5D14-A6B8-FB426E231A07}"/>
                  </a:ext>
                </a:extLst>
              </p:cNvPr>
              <p:cNvSpPr txBox="1"/>
              <p:nvPr/>
            </p:nvSpPr>
            <p:spPr bwMode="gray">
              <a:xfrm>
                <a:off x="468313" y="3075466"/>
                <a:ext cx="1042376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FFFFFF"/>
                    </a:solidFill>
                    <a:latin typeface="Arial" panose="020B0604020202020204"/>
                    <a:cs typeface="Arial"/>
                  </a:rPr>
                  <a:t>1986 –</a:t>
                </a:r>
              </a:p>
            </p:txBody>
          </p:sp>
          <p:sp>
            <p:nvSpPr>
              <p:cNvPr id="55" name="Textfeld 24">
                <a:extLst>
                  <a:ext uri="{FF2B5EF4-FFF2-40B4-BE49-F238E27FC236}">
                    <a16:creationId xmlns:a16="http://schemas.microsoft.com/office/drawing/2014/main" id="{709C81B7-E0E0-C752-3069-3A12F7487361}"/>
                  </a:ext>
                </a:extLst>
              </p:cNvPr>
              <p:cNvSpPr txBox="1"/>
              <p:nvPr/>
            </p:nvSpPr>
            <p:spPr bwMode="gray">
              <a:xfrm>
                <a:off x="1381832" y="3075070"/>
                <a:ext cx="730804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EC6B00"/>
                    </a:solidFill>
                    <a:latin typeface="Arial" panose="020B0604020202020204"/>
                    <a:cs typeface="Arial"/>
                  </a:rPr>
                  <a:t>1997</a:t>
                </a:r>
              </a:p>
            </p:txBody>
          </p:sp>
        </p:grpSp>
        <p:cxnSp>
          <p:nvCxnSpPr>
            <p:cNvPr id="52" name="Gerade Verbindung 96">
              <a:extLst>
                <a:ext uri="{FF2B5EF4-FFF2-40B4-BE49-F238E27FC236}">
                  <a16:creationId xmlns:a16="http://schemas.microsoft.com/office/drawing/2014/main" id="{AD194A14-6CCE-7909-900C-FC1260F3D185}"/>
                </a:ext>
              </a:extLst>
            </p:cNvPr>
            <p:cNvCxnSpPr/>
            <p:nvPr/>
          </p:nvCxnSpPr>
          <p:spPr bwMode="gray">
            <a:xfrm>
              <a:off x="468312" y="3892435"/>
              <a:ext cx="3898901" cy="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784F1E19-890F-3029-195F-296163FF6518}"/>
                </a:ext>
              </a:extLst>
            </p:cNvPr>
            <p:cNvSpPr txBox="1"/>
            <p:nvPr/>
          </p:nvSpPr>
          <p:spPr bwMode="gray">
            <a:xfrm>
              <a:off x="2399976" y="3595266"/>
              <a:ext cx="1371924" cy="34574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1519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Hoechst</a:t>
              </a:r>
            </a:p>
          </p:txBody>
        </p:sp>
      </p:grpSp>
      <p:grpSp>
        <p:nvGrpSpPr>
          <p:cNvPr id="56" name="Gruppieren 29">
            <a:extLst>
              <a:ext uri="{FF2B5EF4-FFF2-40B4-BE49-F238E27FC236}">
                <a16:creationId xmlns:a16="http://schemas.microsoft.com/office/drawing/2014/main" id="{7868FA4A-A48F-E096-9270-7678EE37E792}"/>
              </a:ext>
            </a:extLst>
          </p:cNvPr>
          <p:cNvGrpSpPr/>
          <p:nvPr/>
        </p:nvGrpSpPr>
        <p:grpSpPr>
          <a:xfrm>
            <a:off x="394254" y="3665937"/>
            <a:ext cx="3284993" cy="326224"/>
            <a:chOff x="468312" y="4142466"/>
            <a:chExt cx="3898901" cy="387659"/>
          </a:xfrm>
        </p:grpSpPr>
        <p:grpSp>
          <p:nvGrpSpPr>
            <p:cNvPr id="57" name="Gruppieren 11">
              <a:extLst>
                <a:ext uri="{FF2B5EF4-FFF2-40B4-BE49-F238E27FC236}">
                  <a16:creationId xmlns:a16="http://schemas.microsoft.com/office/drawing/2014/main" id="{DB4FA49A-9B90-93D3-9420-9E087D6513ED}"/>
                </a:ext>
              </a:extLst>
            </p:cNvPr>
            <p:cNvGrpSpPr/>
            <p:nvPr/>
          </p:nvGrpSpPr>
          <p:grpSpPr>
            <a:xfrm>
              <a:off x="468313" y="4142466"/>
              <a:ext cx="1667130" cy="243025"/>
              <a:chOff x="468313" y="3657942"/>
              <a:chExt cx="1667130" cy="243025"/>
            </a:xfrm>
          </p:grpSpPr>
          <p:sp>
            <p:nvSpPr>
              <p:cNvPr id="60" name="Textfeld 25">
                <a:extLst>
                  <a:ext uri="{FF2B5EF4-FFF2-40B4-BE49-F238E27FC236}">
                    <a16:creationId xmlns:a16="http://schemas.microsoft.com/office/drawing/2014/main" id="{A67CF7E2-AADB-938D-39E6-F0A3453D3A15}"/>
                  </a:ext>
                </a:extLst>
              </p:cNvPr>
              <p:cNvSpPr txBox="1"/>
              <p:nvPr/>
            </p:nvSpPr>
            <p:spPr bwMode="gray">
              <a:xfrm>
                <a:off x="468313" y="3658079"/>
                <a:ext cx="1005753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FFFFFF"/>
                    </a:solidFill>
                    <a:latin typeface="Arial" panose="020B0604020202020204"/>
                    <a:cs typeface="Arial"/>
                  </a:rPr>
                  <a:t>1997 –</a:t>
                </a:r>
              </a:p>
            </p:txBody>
          </p:sp>
          <p:sp>
            <p:nvSpPr>
              <p:cNvPr id="61" name="Textfeld 26">
                <a:extLst>
                  <a:ext uri="{FF2B5EF4-FFF2-40B4-BE49-F238E27FC236}">
                    <a16:creationId xmlns:a16="http://schemas.microsoft.com/office/drawing/2014/main" id="{5D31DE29-41F0-5754-C196-655C863907AF}"/>
                  </a:ext>
                </a:extLst>
              </p:cNvPr>
              <p:cNvSpPr txBox="1"/>
              <p:nvPr/>
            </p:nvSpPr>
            <p:spPr bwMode="gray">
              <a:xfrm>
                <a:off x="1381832" y="3657942"/>
                <a:ext cx="753611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EC6B00"/>
                    </a:solidFill>
                    <a:latin typeface="Arial" panose="020B0604020202020204"/>
                    <a:cs typeface="Arial"/>
                  </a:rPr>
                  <a:t>1999</a:t>
                </a:r>
              </a:p>
            </p:txBody>
          </p:sp>
        </p:grpSp>
        <p:cxnSp>
          <p:nvCxnSpPr>
            <p:cNvPr id="58" name="Gerade Verbindung 44">
              <a:extLst>
                <a:ext uri="{FF2B5EF4-FFF2-40B4-BE49-F238E27FC236}">
                  <a16:creationId xmlns:a16="http://schemas.microsoft.com/office/drawing/2014/main" id="{FC2D018F-4777-93FC-7033-F51AD62E79A9}"/>
                </a:ext>
              </a:extLst>
            </p:cNvPr>
            <p:cNvCxnSpPr/>
            <p:nvPr/>
          </p:nvCxnSpPr>
          <p:spPr bwMode="gray">
            <a:xfrm>
              <a:off x="468312" y="4477589"/>
              <a:ext cx="3898901" cy="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feld 53">
              <a:extLst>
                <a:ext uri="{FF2B5EF4-FFF2-40B4-BE49-F238E27FC236}">
                  <a16:creationId xmlns:a16="http://schemas.microsoft.com/office/drawing/2014/main" id="{39AA6F98-0125-6BE1-B0C3-3A516A2FF7DD}"/>
                </a:ext>
              </a:extLst>
            </p:cNvPr>
            <p:cNvSpPr txBox="1"/>
            <p:nvPr/>
          </p:nvSpPr>
          <p:spPr bwMode="gray">
            <a:xfrm>
              <a:off x="2399976" y="4184376"/>
              <a:ext cx="1117042" cy="34574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1519" dirty="0" err="1">
                  <a:solidFill>
                    <a:srgbClr val="FFFFFF"/>
                  </a:solidFill>
                  <a:latin typeface="Arial" panose="020B0604020202020204"/>
                  <a:cs typeface="Arial"/>
                </a:rPr>
                <a:t>AgrEvo</a:t>
              </a:r>
              <a:endParaRPr lang="de-DE" sz="1519" dirty="0">
                <a:solidFill>
                  <a:srgbClr val="FFFFFF"/>
                </a:solidFill>
                <a:latin typeface="Arial" panose="020B0604020202020204"/>
                <a:cs typeface="Arial"/>
              </a:endParaRPr>
            </a:p>
          </p:txBody>
        </p:sp>
      </p:grpSp>
      <p:grpSp>
        <p:nvGrpSpPr>
          <p:cNvPr id="62" name="Gruppieren 19">
            <a:extLst>
              <a:ext uri="{FF2B5EF4-FFF2-40B4-BE49-F238E27FC236}">
                <a16:creationId xmlns:a16="http://schemas.microsoft.com/office/drawing/2014/main" id="{30A09CD6-4D7B-4CAA-823A-A044061E1FD3}"/>
              </a:ext>
            </a:extLst>
          </p:cNvPr>
          <p:cNvGrpSpPr/>
          <p:nvPr/>
        </p:nvGrpSpPr>
        <p:grpSpPr>
          <a:xfrm>
            <a:off x="394254" y="4181403"/>
            <a:ext cx="3284993" cy="314487"/>
            <a:chOff x="468312" y="4740902"/>
            <a:chExt cx="3898901" cy="373712"/>
          </a:xfrm>
        </p:grpSpPr>
        <p:grpSp>
          <p:nvGrpSpPr>
            <p:cNvPr id="63" name="Gruppieren 12">
              <a:extLst>
                <a:ext uri="{FF2B5EF4-FFF2-40B4-BE49-F238E27FC236}">
                  <a16:creationId xmlns:a16="http://schemas.microsoft.com/office/drawing/2014/main" id="{E3900C49-C4C7-B3F6-8A45-2573C1692172}"/>
                </a:ext>
              </a:extLst>
            </p:cNvPr>
            <p:cNvGrpSpPr/>
            <p:nvPr/>
          </p:nvGrpSpPr>
          <p:grpSpPr>
            <a:xfrm>
              <a:off x="468313" y="4740902"/>
              <a:ext cx="1742242" cy="247007"/>
              <a:chOff x="468313" y="4180390"/>
              <a:chExt cx="1742242" cy="247007"/>
            </a:xfrm>
          </p:grpSpPr>
          <p:sp>
            <p:nvSpPr>
              <p:cNvPr id="66" name="Textfeld 27">
                <a:extLst>
                  <a:ext uri="{FF2B5EF4-FFF2-40B4-BE49-F238E27FC236}">
                    <a16:creationId xmlns:a16="http://schemas.microsoft.com/office/drawing/2014/main" id="{FAC61842-5F4F-7DE9-3511-31D72FD5F409}"/>
                  </a:ext>
                </a:extLst>
              </p:cNvPr>
              <p:cNvSpPr txBox="1"/>
              <p:nvPr/>
            </p:nvSpPr>
            <p:spPr bwMode="gray">
              <a:xfrm>
                <a:off x="468313" y="4180390"/>
                <a:ext cx="1005753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FFFFFF"/>
                    </a:solidFill>
                    <a:latin typeface="Arial" panose="020B0604020202020204"/>
                    <a:cs typeface="Arial"/>
                  </a:rPr>
                  <a:t>1999 –</a:t>
                </a:r>
              </a:p>
            </p:txBody>
          </p:sp>
          <p:sp>
            <p:nvSpPr>
              <p:cNvPr id="67" name="Textfeld 28">
                <a:extLst>
                  <a:ext uri="{FF2B5EF4-FFF2-40B4-BE49-F238E27FC236}">
                    <a16:creationId xmlns:a16="http://schemas.microsoft.com/office/drawing/2014/main" id="{F8E155B4-2667-D402-58AD-6F6459A0B50E}"/>
                  </a:ext>
                </a:extLst>
              </p:cNvPr>
              <p:cNvSpPr txBox="1"/>
              <p:nvPr/>
            </p:nvSpPr>
            <p:spPr bwMode="gray">
              <a:xfrm>
                <a:off x="1381832" y="4184509"/>
                <a:ext cx="828723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EC6B00"/>
                    </a:solidFill>
                    <a:latin typeface="Arial" panose="020B0604020202020204"/>
                    <a:cs typeface="Arial"/>
                  </a:rPr>
                  <a:t>2002</a:t>
                </a:r>
              </a:p>
            </p:txBody>
          </p:sp>
        </p:grpSp>
        <p:cxnSp>
          <p:nvCxnSpPr>
            <p:cNvPr id="64" name="Gerade Verbindung 45">
              <a:extLst>
                <a:ext uri="{FF2B5EF4-FFF2-40B4-BE49-F238E27FC236}">
                  <a16:creationId xmlns:a16="http://schemas.microsoft.com/office/drawing/2014/main" id="{3A8C04C9-062E-E26F-EA58-1DCAFA72274A}"/>
                </a:ext>
              </a:extLst>
            </p:cNvPr>
            <p:cNvCxnSpPr/>
            <p:nvPr/>
          </p:nvCxnSpPr>
          <p:spPr bwMode="gray">
            <a:xfrm>
              <a:off x="468312" y="5078425"/>
              <a:ext cx="3898901" cy="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54">
              <a:extLst>
                <a:ext uri="{FF2B5EF4-FFF2-40B4-BE49-F238E27FC236}">
                  <a16:creationId xmlns:a16="http://schemas.microsoft.com/office/drawing/2014/main" id="{85CC40D1-2F11-32B2-4235-645F8394431D}"/>
                </a:ext>
              </a:extLst>
            </p:cNvPr>
            <p:cNvSpPr txBox="1"/>
            <p:nvPr/>
          </p:nvSpPr>
          <p:spPr bwMode="gray">
            <a:xfrm>
              <a:off x="2399976" y="4768865"/>
              <a:ext cx="1117042" cy="34574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1519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Aventis</a:t>
              </a:r>
            </a:p>
          </p:txBody>
        </p:sp>
      </p:grpSp>
      <p:grpSp>
        <p:nvGrpSpPr>
          <p:cNvPr id="68" name="Gruppieren 19">
            <a:extLst>
              <a:ext uri="{FF2B5EF4-FFF2-40B4-BE49-F238E27FC236}">
                <a16:creationId xmlns:a16="http://schemas.microsoft.com/office/drawing/2014/main" id="{72824763-8896-F829-80B4-2429AC4D08AF}"/>
              </a:ext>
            </a:extLst>
          </p:cNvPr>
          <p:cNvGrpSpPr/>
          <p:nvPr/>
        </p:nvGrpSpPr>
        <p:grpSpPr>
          <a:xfrm>
            <a:off x="394254" y="4685131"/>
            <a:ext cx="3284993" cy="314487"/>
            <a:chOff x="468312" y="4740902"/>
            <a:chExt cx="3898901" cy="373712"/>
          </a:xfrm>
        </p:grpSpPr>
        <p:grpSp>
          <p:nvGrpSpPr>
            <p:cNvPr id="69" name="Gruppieren 12">
              <a:extLst>
                <a:ext uri="{FF2B5EF4-FFF2-40B4-BE49-F238E27FC236}">
                  <a16:creationId xmlns:a16="http://schemas.microsoft.com/office/drawing/2014/main" id="{FEDA0C7E-22D2-5FDC-133E-9576AF8D65E8}"/>
                </a:ext>
              </a:extLst>
            </p:cNvPr>
            <p:cNvGrpSpPr/>
            <p:nvPr/>
          </p:nvGrpSpPr>
          <p:grpSpPr>
            <a:xfrm>
              <a:off x="468313" y="4740902"/>
              <a:ext cx="1742242" cy="247007"/>
              <a:chOff x="468313" y="4180390"/>
              <a:chExt cx="1742242" cy="247007"/>
            </a:xfrm>
          </p:grpSpPr>
          <p:sp>
            <p:nvSpPr>
              <p:cNvPr id="72" name="Textfeld 27">
                <a:extLst>
                  <a:ext uri="{FF2B5EF4-FFF2-40B4-BE49-F238E27FC236}">
                    <a16:creationId xmlns:a16="http://schemas.microsoft.com/office/drawing/2014/main" id="{666C3180-7FAF-5D09-BEB7-02086B3B8B79}"/>
                  </a:ext>
                </a:extLst>
              </p:cNvPr>
              <p:cNvSpPr txBox="1"/>
              <p:nvPr/>
            </p:nvSpPr>
            <p:spPr bwMode="gray">
              <a:xfrm>
                <a:off x="468313" y="4180390"/>
                <a:ext cx="1005753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FFFFFF"/>
                    </a:solidFill>
                    <a:latin typeface="Arial" panose="020B0604020202020204"/>
                    <a:cs typeface="Arial"/>
                  </a:rPr>
                  <a:t>2002 –</a:t>
                </a:r>
              </a:p>
            </p:txBody>
          </p:sp>
          <p:sp>
            <p:nvSpPr>
              <p:cNvPr id="73" name="Textfeld 28">
                <a:extLst>
                  <a:ext uri="{FF2B5EF4-FFF2-40B4-BE49-F238E27FC236}">
                    <a16:creationId xmlns:a16="http://schemas.microsoft.com/office/drawing/2014/main" id="{4480BB88-7074-9647-ED3C-D40189D0A0B0}"/>
                  </a:ext>
                </a:extLst>
              </p:cNvPr>
              <p:cNvSpPr txBox="1"/>
              <p:nvPr/>
            </p:nvSpPr>
            <p:spPr bwMode="gray">
              <a:xfrm>
                <a:off x="1381832" y="4184509"/>
                <a:ext cx="828723" cy="242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defTabSz="771662"/>
                <a:r>
                  <a:rPr lang="de-DE" sz="1857" b="1" dirty="0">
                    <a:solidFill>
                      <a:srgbClr val="EC6B00"/>
                    </a:solidFill>
                    <a:latin typeface="Arial" panose="020B0604020202020204"/>
                    <a:cs typeface="Arial"/>
                  </a:rPr>
                  <a:t>2018	</a:t>
                </a:r>
              </a:p>
            </p:txBody>
          </p:sp>
        </p:grpSp>
        <p:cxnSp>
          <p:nvCxnSpPr>
            <p:cNvPr id="70" name="Gerade Verbindung 45">
              <a:extLst>
                <a:ext uri="{FF2B5EF4-FFF2-40B4-BE49-F238E27FC236}">
                  <a16:creationId xmlns:a16="http://schemas.microsoft.com/office/drawing/2014/main" id="{44B607EF-0B34-CFE4-6C77-ADF05647D5A4}"/>
                </a:ext>
              </a:extLst>
            </p:cNvPr>
            <p:cNvCxnSpPr/>
            <p:nvPr/>
          </p:nvCxnSpPr>
          <p:spPr bwMode="gray">
            <a:xfrm>
              <a:off x="468312" y="5078425"/>
              <a:ext cx="3898901" cy="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feld 54">
              <a:extLst>
                <a:ext uri="{FF2B5EF4-FFF2-40B4-BE49-F238E27FC236}">
                  <a16:creationId xmlns:a16="http://schemas.microsoft.com/office/drawing/2014/main" id="{B82B7E4B-8E15-6B02-64E8-B15E1F5DDAA7}"/>
                </a:ext>
              </a:extLst>
            </p:cNvPr>
            <p:cNvSpPr txBox="1"/>
            <p:nvPr/>
          </p:nvSpPr>
          <p:spPr bwMode="gray">
            <a:xfrm>
              <a:off x="2399976" y="4768865"/>
              <a:ext cx="1117042" cy="34574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1519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Bay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4558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1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5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Nuestro camino hasta ser BASF</a:t>
            </a:r>
            <a:r>
              <a:rPr lang="de-DE" sz="3200" b="0" dirty="0"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 Nunhems </a:t>
            </a:r>
            <a:endParaRPr lang="de-DE" sz="3200" b="0" dirty="0">
              <a:solidFill>
                <a:schemeClr val="accent1"/>
              </a:solidFill>
              <a:latin typeface="Arial Narrow" panose="020B0606020202030204" pitchFamily="34" charset="0"/>
              <a:ea typeface="Cambria" panose="02040503050406030204" pitchFamily="18" charset="0"/>
              <a:cs typeface="Segoe UI Semibold" panose="020B0702040204020203" pitchFamily="34" charset="0"/>
            </a:endParaRPr>
          </a:p>
        </p:txBody>
      </p:sp>
      <p:pic>
        <p:nvPicPr>
          <p:cNvPr id="2" name="Picture 38">
            <a:extLst>
              <a:ext uri="{FF2B5EF4-FFF2-40B4-BE49-F238E27FC236}">
                <a16:creationId xmlns:a16="http://schemas.microsoft.com/office/drawing/2014/main" id="{25FDE4B6-8442-42E2-5038-52A6F13ACE9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" y="1853939"/>
            <a:ext cx="7623949" cy="4092109"/>
          </a:xfrm>
          <a:prstGeom prst="rect">
            <a:avLst/>
          </a:prstGeom>
        </p:spPr>
      </p:pic>
      <p:grpSp>
        <p:nvGrpSpPr>
          <p:cNvPr id="4" name="Gruppieren 13">
            <a:extLst>
              <a:ext uri="{FF2B5EF4-FFF2-40B4-BE49-F238E27FC236}">
                <a16:creationId xmlns:a16="http://schemas.microsoft.com/office/drawing/2014/main" id="{E295B2FC-DF9A-854D-AC3A-D866539C5E59}"/>
              </a:ext>
            </a:extLst>
          </p:cNvPr>
          <p:cNvGrpSpPr/>
          <p:nvPr/>
        </p:nvGrpSpPr>
        <p:grpSpPr>
          <a:xfrm>
            <a:off x="370405" y="3166640"/>
            <a:ext cx="3441888" cy="1136781"/>
            <a:chOff x="468313" y="3946582"/>
            <a:chExt cx="4085117" cy="1350862"/>
          </a:xfrm>
        </p:grpSpPr>
        <p:sp>
          <p:nvSpPr>
            <p:cNvPr id="5" name="Textfeld 63">
              <a:extLst>
                <a:ext uri="{FF2B5EF4-FFF2-40B4-BE49-F238E27FC236}">
                  <a16:creationId xmlns:a16="http://schemas.microsoft.com/office/drawing/2014/main" id="{1DBBCE14-78ED-C890-A375-105F5973F4AE}"/>
                </a:ext>
              </a:extLst>
            </p:cNvPr>
            <p:cNvSpPr txBox="1"/>
            <p:nvPr/>
          </p:nvSpPr>
          <p:spPr bwMode="gray">
            <a:xfrm>
              <a:off x="468313" y="3946582"/>
              <a:ext cx="3636962" cy="24288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/>
              <a:r>
                <a:rPr lang="de-DE" sz="2700" b="1" dirty="0">
                  <a:solidFill>
                    <a:srgbClr val="EC6B00"/>
                  </a:solidFill>
                  <a:latin typeface="Arial" panose="020B0604020202020204"/>
                  <a:cs typeface="Arial"/>
                </a:rPr>
                <a:t>Desde 2018</a:t>
              </a:r>
            </a:p>
          </p:txBody>
        </p:sp>
        <p:cxnSp>
          <p:nvCxnSpPr>
            <p:cNvPr id="8" name="Gerade Verbindung 62">
              <a:extLst>
                <a:ext uri="{FF2B5EF4-FFF2-40B4-BE49-F238E27FC236}">
                  <a16:creationId xmlns:a16="http://schemas.microsoft.com/office/drawing/2014/main" id="{4929B6C6-FB35-53AA-08E7-7836A636AE51}"/>
                </a:ext>
              </a:extLst>
            </p:cNvPr>
            <p:cNvCxnSpPr/>
            <p:nvPr/>
          </p:nvCxnSpPr>
          <p:spPr bwMode="gray">
            <a:xfrm>
              <a:off x="468313" y="4529908"/>
              <a:ext cx="3883251" cy="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feld 66">
              <a:extLst>
                <a:ext uri="{FF2B5EF4-FFF2-40B4-BE49-F238E27FC236}">
                  <a16:creationId xmlns:a16="http://schemas.microsoft.com/office/drawing/2014/main" id="{16D4AD9C-6858-2AC9-27BF-A84697C90C05}"/>
                </a:ext>
              </a:extLst>
            </p:cNvPr>
            <p:cNvSpPr txBox="1"/>
            <p:nvPr/>
          </p:nvSpPr>
          <p:spPr bwMode="gray">
            <a:xfrm>
              <a:off x="468313" y="4643031"/>
              <a:ext cx="4085117" cy="65441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771662">
                <a:lnSpc>
                  <a:spcPts val="2274"/>
                </a:lnSpc>
              </a:pPr>
              <a:r>
                <a:rPr lang="en-US" sz="1688" dirty="0" err="1">
                  <a:solidFill>
                    <a:srgbClr val="FFFFFF"/>
                  </a:solidFill>
                  <a:latin typeface="Arial" panose="020B0604020202020204"/>
                  <a:cs typeface="Arial"/>
                </a:rPr>
                <a:t>Semillas</a:t>
              </a:r>
              <a:r>
                <a:rPr lang="en-US" sz="1688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en-US" sz="1688" dirty="0" err="1">
                  <a:solidFill>
                    <a:srgbClr val="FFFFFF"/>
                  </a:solidFill>
                  <a:latin typeface="Arial" panose="020B0604020202020204"/>
                  <a:cs typeface="Arial"/>
                </a:rPr>
                <a:t>Hortícolas</a:t>
              </a:r>
              <a:endParaRPr lang="en-US" sz="1688" dirty="0">
                <a:solidFill>
                  <a:srgbClr val="FFFFFF"/>
                </a:solidFill>
                <a:latin typeface="Arial" panose="020B0604020202020204"/>
                <a:cs typeface="Arial"/>
              </a:endParaRPr>
            </a:p>
            <a:p>
              <a:pPr defTabSz="771662">
                <a:lnSpc>
                  <a:spcPts val="2274"/>
                </a:lnSpc>
              </a:pPr>
              <a:r>
                <a:rPr lang="en-US" sz="1688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es </a:t>
              </a:r>
              <a:r>
                <a:rPr lang="en-US" sz="1688" dirty="0" err="1">
                  <a:solidFill>
                    <a:srgbClr val="FFFFFF"/>
                  </a:solidFill>
                  <a:latin typeface="Arial" panose="020B0604020202020204"/>
                  <a:cs typeface="Arial"/>
                </a:rPr>
                <a:t>parte</a:t>
              </a:r>
              <a:r>
                <a:rPr lang="en-US" sz="1688" dirty="0">
                  <a:solidFill>
                    <a:srgbClr val="FFFFFF"/>
                  </a:solidFill>
                  <a:latin typeface="Arial" panose="020B0604020202020204"/>
                  <a:cs typeface="Arial"/>
                </a:rPr>
                <a:t> de BASF</a:t>
              </a:r>
              <a:endParaRPr lang="de-DE" sz="1688" dirty="0">
                <a:solidFill>
                  <a:srgbClr val="FFFFFF"/>
                </a:solidFill>
                <a:latin typeface="Arial" panose="020B0604020202020204"/>
                <a:cs typeface="Arial"/>
              </a:endParaRPr>
            </a:p>
          </p:txBody>
        </p:sp>
      </p:grpSp>
      <p:pic>
        <p:nvPicPr>
          <p:cNvPr id="11" name="Picture 6">
            <a:extLst>
              <a:ext uri="{FF2B5EF4-FFF2-40B4-BE49-F238E27FC236}">
                <a16:creationId xmlns:a16="http://schemas.microsoft.com/office/drawing/2014/main" id="{B51B55AB-ECF7-0D00-CA46-2CEDB5DBD9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74" y="3255254"/>
            <a:ext cx="6200488" cy="994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008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6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BASF Nunhems</a:t>
            </a:r>
          </a:p>
        </p:txBody>
      </p:sp>
      <p:sp>
        <p:nvSpPr>
          <p:cNvPr id="5" name="Rechteck 88">
            <a:extLst>
              <a:ext uri="{FF2B5EF4-FFF2-40B4-BE49-F238E27FC236}">
                <a16:creationId xmlns:a16="http://schemas.microsoft.com/office/drawing/2014/main" id="{1C5A0D35-F0C9-8AF6-7AB2-9C5C4F38179E}"/>
              </a:ext>
            </a:extLst>
          </p:cNvPr>
          <p:cNvSpPr/>
          <p:nvPr/>
        </p:nvSpPr>
        <p:spPr>
          <a:xfrm>
            <a:off x="1" y="1285875"/>
            <a:ext cx="12190412" cy="55721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1662"/>
            <a:endParaRPr lang="en-US" sz="1519">
              <a:solidFill>
                <a:srgbClr val="FFFFFF"/>
              </a:solidFill>
              <a:latin typeface="Arial" panose="020B0604020202020204"/>
              <a:cs typeface="Arial"/>
            </a:endParaRPr>
          </a:p>
        </p:txBody>
      </p:sp>
      <p:sp>
        <p:nvSpPr>
          <p:cNvPr id="15" name="Foliennummernplatzhalter 62">
            <a:extLst>
              <a:ext uri="{FF2B5EF4-FFF2-40B4-BE49-F238E27FC236}">
                <a16:creationId xmlns:a16="http://schemas.microsoft.com/office/drawing/2014/main" id="{567A7ED2-D72A-C772-5C99-CF793F4A3A30}"/>
              </a:ext>
            </a:extLst>
          </p:cNvPr>
          <p:cNvSpPr txBox="1">
            <a:spLocks/>
          </p:cNvSpPr>
          <p:nvPr/>
        </p:nvSpPr>
        <p:spPr>
          <a:xfrm>
            <a:off x="257008" y="6462806"/>
            <a:ext cx="324225" cy="127592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1662"/>
            <a:fld id="{82EA1D04-CA53-4DE3-84A8-2B63E41036C9}" type="slidenum">
              <a:rPr lang="de-DE" smtClean="0">
                <a:solidFill>
                  <a:srgbClr val="000000"/>
                </a:solidFill>
                <a:latin typeface="Arial" panose="020B0604020202020204"/>
                <a:cs typeface="Arial"/>
              </a:rPr>
              <a:pPr defTabSz="771662"/>
              <a:t>6</a:t>
            </a:fld>
            <a:endParaRPr lang="de-DE" dirty="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grpSp>
        <p:nvGrpSpPr>
          <p:cNvPr id="17" name="Gruppieren 2">
            <a:extLst>
              <a:ext uri="{FF2B5EF4-FFF2-40B4-BE49-F238E27FC236}">
                <a16:creationId xmlns:a16="http://schemas.microsoft.com/office/drawing/2014/main" id="{A12523B0-C6C2-1525-E429-1B06AE729218}"/>
              </a:ext>
            </a:extLst>
          </p:cNvPr>
          <p:cNvGrpSpPr/>
          <p:nvPr/>
        </p:nvGrpSpPr>
        <p:grpSpPr>
          <a:xfrm>
            <a:off x="1163778" y="2221492"/>
            <a:ext cx="4943212" cy="1154400"/>
            <a:chOff x="227012" y="2156465"/>
            <a:chExt cx="5857859" cy="1368000"/>
          </a:xfrm>
        </p:grpSpPr>
        <p:sp>
          <p:nvSpPr>
            <p:cNvPr id="18" name="Rechteck 87">
              <a:extLst>
                <a:ext uri="{FF2B5EF4-FFF2-40B4-BE49-F238E27FC236}">
                  <a16:creationId xmlns:a16="http://schemas.microsoft.com/office/drawing/2014/main" id="{63BC3706-3034-7EE4-5C49-9F3BF9C96627}"/>
                </a:ext>
              </a:extLst>
            </p:cNvPr>
            <p:cNvSpPr/>
            <p:nvPr/>
          </p:nvSpPr>
          <p:spPr bwMode="auto">
            <a:xfrm>
              <a:off x="227012" y="2270956"/>
              <a:ext cx="5183187" cy="1142319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77008" tIns="38504" rIns="77008" bIns="38504" numCol="1" rtlCol="0" anchor="ctr" anchorCtr="0" compatLnSpc="1">
              <a:prstTxWarp prst="textNoShape">
                <a:avLst/>
              </a:prstTxWarp>
            </a:bodyPr>
            <a:lstStyle/>
            <a:p>
              <a:pPr defTabSz="771662">
                <a:defRPr/>
              </a:pPr>
              <a:r>
                <a:rPr lang="de-DE" sz="2363" b="1" dirty="0">
                  <a:solidFill>
                    <a:srgbClr val="808080"/>
                  </a:solidFill>
                  <a:latin typeface="Arial" panose="020B0604020202020204"/>
                  <a:cs typeface="Arial"/>
                </a:rPr>
                <a:t>~2,100* </a:t>
              </a:r>
              <a:r>
                <a:rPr lang="de-DE" sz="1688" dirty="0">
                  <a:solidFill>
                    <a:srgbClr val="FFFFFF">
                      <a:lumMod val="50000"/>
                    </a:srgbClr>
                  </a:solidFill>
                  <a:latin typeface="Arial" panose="020B0604020202020204"/>
                  <a:cs typeface="Arial"/>
                </a:rPr>
                <a:t>empleados </a:t>
              </a:r>
              <a:br>
                <a:rPr lang="de-DE" sz="1688" dirty="0">
                  <a:solidFill>
                    <a:srgbClr val="FFFFFF">
                      <a:lumMod val="50000"/>
                    </a:srgbClr>
                  </a:solidFill>
                  <a:latin typeface="Arial" panose="020B0604020202020204"/>
                  <a:cs typeface="Arial"/>
                </a:rPr>
              </a:br>
              <a:r>
                <a:rPr lang="de-DE" sz="1688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en </a:t>
              </a:r>
              <a:r>
                <a:rPr lang="de-DE" sz="2363" b="1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42 </a:t>
              </a:r>
              <a:r>
                <a:rPr lang="de-DE" sz="1688" b="1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paises</a:t>
              </a:r>
              <a:endParaRPr lang="en-US" sz="1688" dirty="0">
                <a:solidFill>
                  <a:srgbClr val="F395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19" name="Picture 62">
              <a:extLst>
                <a:ext uri="{FF2B5EF4-FFF2-40B4-BE49-F238E27FC236}">
                  <a16:creationId xmlns:a16="http://schemas.microsoft.com/office/drawing/2014/main" id="{29FC4DB4-A0B0-28E1-0DCE-C0083B6BB0C1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681" t="6285" r="4949" b="5345"/>
            <a:stretch/>
          </p:blipFill>
          <p:spPr>
            <a:xfrm>
              <a:off x="4716871" y="2156465"/>
              <a:ext cx="1368000" cy="1368000"/>
            </a:xfrm>
            <a:prstGeom prst="ellipse">
              <a:avLst/>
            </a:prstGeom>
          </p:spPr>
        </p:pic>
      </p:grpSp>
      <p:grpSp>
        <p:nvGrpSpPr>
          <p:cNvPr id="20" name="Gruppieren 6">
            <a:extLst>
              <a:ext uri="{FF2B5EF4-FFF2-40B4-BE49-F238E27FC236}">
                <a16:creationId xmlns:a16="http://schemas.microsoft.com/office/drawing/2014/main" id="{0F859ADD-50BA-F30B-27AA-FCAAA1E5FB92}"/>
              </a:ext>
            </a:extLst>
          </p:cNvPr>
          <p:cNvGrpSpPr/>
          <p:nvPr/>
        </p:nvGrpSpPr>
        <p:grpSpPr>
          <a:xfrm>
            <a:off x="6113311" y="2849185"/>
            <a:ext cx="4966061" cy="1154400"/>
            <a:chOff x="6092362" y="2913800"/>
            <a:chExt cx="5884936" cy="1368000"/>
          </a:xfrm>
        </p:grpSpPr>
        <p:sp>
          <p:nvSpPr>
            <p:cNvPr id="22" name="Rechteck 95">
              <a:extLst>
                <a:ext uri="{FF2B5EF4-FFF2-40B4-BE49-F238E27FC236}">
                  <a16:creationId xmlns:a16="http://schemas.microsoft.com/office/drawing/2014/main" id="{D35B3D59-660D-2CE5-6FA6-78B8F4C3924F}"/>
                </a:ext>
              </a:extLst>
            </p:cNvPr>
            <p:cNvSpPr/>
            <p:nvPr/>
          </p:nvSpPr>
          <p:spPr bwMode="auto">
            <a:xfrm>
              <a:off x="6793298" y="3026641"/>
              <a:ext cx="5184000" cy="1142319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77008" tIns="38504" rIns="77008" bIns="38504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771662">
                <a:defRPr/>
              </a:pPr>
              <a:r>
                <a:rPr lang="de-DE" sz="2363" b="1" dirty="0">
                  <a:solidFill>
                    <a:srgbClr val="808080"/>
                  </a:solidFill>
                  <a:latin typeface="Arial" panose="020B0604020202020204"/>
                  <a:cs typeface="Arial"/>
                </a:rPr>
                <a:t>~1,200 </a:t>
              </a:r>
              <a:r>
                <a:rPr lang="de-DE" sz="1688" dirty="0">
                  <a:solidFill>
                    <a:srgbClr val="FFFFFF">
                      <a:lumMod val="50000"/>
                    </a:srgbClr>
                  </a:solidFill>
                  <a:latin typeface="Arial" panose="020B0604020202020204"/>
                  <a:cs typeface="Arial"/>
                </a:rPr>
                <a:t>variedades </a:t>
              </a:r>
              <a:r>
                <a:rPr lang="de-DE" sz="1688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en</a:t>
              </a:r>
              <a:r>
                <a:rPr lang="de-DE" sz="1688" dirty="0">
                  <a:solidFill>
                    <a:srgbClr val="FFFFFF">
                      <a:lumMod val="50000"/>
                    </a:srgbClr>
                  </a:solidFill>
                  <a:latin typeface="Arial" panose="020B0604020202020204"/>
                  <a:cs typeface="Arial"/>
                </a:rPr>
                <a:t> </a:t>
              </a:r>
              <a:r>
                <a:rPr lang="de-DE" sz="2363" b="1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24 </a:t>
              </a:r>
              <a:br>
                <a:rPr lang="de-DE" sz="2363" b="1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</a:br>
              <a:r>
                <a:rPr lang="de-DE" sz="1688" kern="0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cultivos hotrícolas</a:t>
              </a:r>
              <a:endParaRPr lang="en-US" sz="1688" dirty="0">
                <a:solidFill>
                  <a:srgbClr val="F395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23" name="Picture 67">
              <a:extLst>
                <a:ext uri="{FF2B5EF4-FFF2-40B4-BE49-F238E27FC236}">
                  <a16:creationId xmlns:a16="http://schemas.microsoft.com/office/drawing/2014/main" id="{8D76A56B-9DE0-AFF7-D5EC-42579DE198F5}"/>
                </a:ext>
              </a:extLst>
            </p:cNvPr>
            <p:cNvPicPr>
              <a:picLocks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2362" y="2913800"/>
              <a:ext cx="1368000" cy="1368000"/>
            </a:xfrm>
            <a:prstGeom prst="ellipse">
              <a:avLst/>
            </a:prstGeom>
          </p:spPr>
        </p:pic>
      </p:grpSp>
      <p:grpSp>
        <p:nvGrpSpPr>
          <p:cNvPr id="24" name="Gruppieren 3">
            <a:extLst>
              <a:ext uri="{FF2B5EF4-FFF2-40B4-BE49-F238E27FC236}">
                <a16:creationId xmlns:a16="http://schemas.microsoft.com/office/drawing/2014/main" id="{E9105238-28D8-2C91-CACA-BC3421C64E18}"/>
              </a:ext>
            </a:extLst>
          </p:cNvPr>
          <p:cNvGrpSpPr/>
          <p:nvPr/>
        </p:nvGrpSpPr>
        <p:grpSpPr>
          <a:xfrm>
            <a:off x="1163779" y="3476878"/>
            <a:ext cx="4943211" cy="1154400"/>
            <a:chOff x="227013" y="3597801"/>
            <a:chExt cx="5857858" cy="1368000"/>
          </a:xfrm>
        </p:grpSpPr>
        <p:sp>
          <p:nvSpPr>
            <p:cNvPr id="25" name="Rechteck 97">
              <a:extLst>
                <a:ext uri="{FF2B5EF4-FFF2-40B4-BE49-F238E27FC236}">
                  <a16:creationId xmlns:a16="http://schemas.microsoft.com/office/drawing/2014/main" id="{9C9E9402-7AD6-0CAF-31B0-B945AD1CF861}"/>
                </a:ext>
              </a:extLst>
            </p:cNvPr>
            <p:cNvSpPr/>
            <p:nvPr/>
          </p:nvSpPr>
          <p:spPr bwMode="auto">
            <a:xfrm>
              <a:off x="227013" y="3700850"/>
              <a:ext cx="5076000" cy="1142319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77008" tIns="38504" rIns="77008" bIns="38504" numCol="1" rtlCol="0" anchor="ctr" anchorCtr="0" compatLnSpc="1">
              <a:prstTxWarp prst="textNoShape">
                <a:avLst/>
              </a:prstTxWarp>
            </a:bodyPr>
            <a:lstStyle/>
            <a:p>
              <a:pPr defTabSz="771662">
                <a:defRPr/>
              </a:pPr>
              <a:r>
                <a:rPr lang="de-DE" sz="1688" dirty="0">
                  <a:solidFill>
                    <a:srgbClr val="FFFFFF">
                      <a:lumMod val="50000"/>
                    </a:srgbClr>
                  </a:solidFill>
                  <a:latin typeface="Arial" panose="020B0604020202020204"/>
                  <a:cs typeface="Arial"/>
                </a:rPr>
                <a:t>Producción de semilla </a:t>
              </a:r>
              <a:r>
                <a:rPr lang="de-DE" sz="1688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en</a:t>
              </a:r>
              <a:r>
                <a:rPr lang="de-DE" sz="1688" dirty="0">
                  <a:solidFill>
                    <a:srgbClr val="FFFFFF">
                      <a:lumMod val="50000"/>
                    </a:srgbClr>
                  </a:solidFill>
                  <a:latin typeface="Arial" panose="020B0604020202020204"/>
                  <a:cs typeface="Arial"/>
                </a:rPr>
                <a:t> </a:t>
              </a:r>
              <a:r>
                <a:rPr lang="de-DE" sz="2363" b="1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23 </a:t>
              </a:r>
              <a:r>
                <a:rPr lang="de-DE" sz="1688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paises</a:t>
              </a:r>
              <a:endParaRPr lang="en-US" sz="1688" dirty="0">
                <a:solidFill>
                  <a:srgbClr val="F395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26" name="Picture 84">
              <a:extLst>
                <a:ext uri="{FF2B5EF4-FFF2-40B4-BE49-F238E27FC236}">
                  <a16:creationId xmlns:a16="http://schemas.microsoft.com/office/drawing/2014/main" id="{7061A0B2-34F1-9826-6489-F76C1C8AC96B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16871" y="3597801"/>
              <a:ext cx="1368000" cy="1368000"/>
            </a:xfrm>
            <a:prstGeom prst="ellipse">
              <a:avLst/>
            </a:prstGeom>
          </p:spPr>
        </p:pic>
      </p:grpSp>
      <p:grpSp>
        <p:nvGrpSpPr>
          <p:cNvPr id="27" name="Gruppieren 7">
            <a:extLst>
              <a:ext uri="{FF2B5EF4-FFF2-40B4-BE49-F238E27FC236}">
                <a16:creationId xmlns:a16="http://schemas.microsoft.com/office/drawing/2014/main" id="{D8B87989-4A44-3BD1-FF6A-2C3F07E171D8}"/>
              </a:ext>
            </a:extLst>
          </p:cNvPr>
          <p:cNvGrpSpPr/>
          <p:nvPr/>
        </p:nvGrpSpPr>
        <p:grpSpPr>
          <a:xfrm>
            <a:off x="6116381" y="4104572"/>
            <a:ext cx="4966061" cy="1154400"/>
            <a:chOff x="6096000" y="4446080"/>
            <a:chExt cx="5884936" cy="1368000"/>
          </a:xfrm>
        </p:grpSpPr>
        <p:sp>
          <p:nvSpPr>
            <p:cNvPr id="28" name="Rechteck 102">
              <a:extLst>
                <a:ext uri="{FF2B5EF4-FFF2-40B4-BE49-F238E27FC236}">
                  <a16:creationId xmlns:a16="http://schemas.microsoft.com/office/drawing/2014/main" id="{EA06EFA3-EDBE-DE5E-A2C3-8DF16A0B08A0}"/>
                </a:ext>
              </a:extLst>
            </p:cNvPr>
            <p:cNvSpPr/>
            <p:nvPr/>
          </p:nvSpPr>
          <p:spPr bwMode="auto">
            <a:xfrm>
              <a:off x="6796936" y="4558921"/>
              <a:ext cx="5184000" cy="1142319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77008" tIns="38504" rIns="77008" bIns="38504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771662">
                <a:defRPr/>
              </a:pPr>
              <a:r>
                <a:rPr lang="de-DE" sz="2363" b="1" dirty="0">
                  <a:solidFill>
                    <a:srgbClr val="808080"/>
                  </a:solidFill>
                  <a:latin typeface="Arial" panose="020B0604020202020204"/>
                  <a:cs typeface="Arial"/>
                </a:rPr>
                <a:t>16 </a:t>
              </a:r>
              <a:r>
                <a:rPr lang="de-DE" sz="1688" dirty="0">
                  <a:solidFill>
                    <a:srgbClr val="FFFFFF">
                      <a:lumMod val="50000"/>
                    </a:srgbClr>
                  </a:solidFill>
                  <a:latin typeface="Arial" panose="020B0604020202020204"/>
                  <a:cs typeface="Arial"/>
                </a:rPr>
                <a:t>estaciones de mejora, </a:t>
              </a:r>
              <a:br>
                <a:rPr lang="de-DE" sz="1688" dirty="0">
                  <a:solidFill>
                    <a:srgbClr val="FFFFFF">
                      <a:lumMod val="50000"/>
                    </a:srgbClr>
                  </a:solidFill>
                  <a:latin typeface="Arial" panose="020B0604020202020204"/>
                  <a:cs typeface="Arial"/>
                </a:rPr>
              </a:br>
              <a:r>
                <a:rPr lang="de-DE" sz="2363" b="1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2 </a:t>
              </a:r>
              <a:r>
                <a:rPr lang="de-DE" sz="1688" kern="0" dirty="0">
                  <a:solidFill>
                    <a:srgbClr val="F39500"/>
                  </a:solidFill>
                  <a:latin typeface="Arial" panose="020B0604020202020204"/>
                  <a:cs typeface="Arial"/>
                </a:rPr>
                <a:t>centros de investigación</a:t>
              </a:r>
              <a:endParaRPr lang="en-US" sz="1688" dirty="0">
                <a:solidFill>
                  <a:srgbClr val="F395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29" name="Picture 72">
              <a:extLst>
                <a:ext uri="{FF2B5EF4-FFF2-40B4-BE49-F238E27FC236}">
                  <a16:creationId xmlns:a16="http://schemas.microsoft.com/office/drawing/2014/main" id="{CDA1DC12-AA49-CA31-81B9-ED922813BEEF}"/>
                </a:ext>
              </a:extLst>
            </p:cNvPr>
            <p:cNvPicPr>
              <a:picLocks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4446080"/>
              <a:ext cx="1368000" cy="1368000"/>
            </a:xfrm>
            <a:prstGeom prst="ellipse">
              <a:avLst/>
            </a:prstGeom>
          </p:spPr>
        </p:pic>
      </p:grpSp>
      <p:grpSp>
        <p:nvGrpSpPr>
          <p:cNvPr id="30" name="Gruppieren 2">
            <a:extLst>
              <a:ext uri="{FF2B5EF4-FFF2-40B4-BE49-F238E27FC236}">
                <a16:creationId xmlns:a16="http://schemas.microsoft.com/office/drawing/2014/main" id="{C2F8F71E-78AE-A8B3-851B-5ED71DD9BA4C}"/>
              </a:ext>
            </a:extLst>
          </p:cNvPr>
          <p:cNvGrpSpPr/>
          <p:nvPr/>
        </p:nvGrpSpPr>
        <p:grpSpPr>
          <a:xfrm>
            <a:off x="10003128" y="5997597"/>
            <a:ext cx="2187285" cy="455684"/>
            <a:chOff x="9601200" y="6091200"/>
            <a:chExt cx="2592000" cy="540000"/>
          </a:xfrm>
        </p:grpSpPr>
        <p:grpSp>
          <p:nvGrpSpPr>
            <p:cNvPr id="31" name="Gruppieren 8">
              <a:extLst>
                <a:ext uri="{FF2B5EF4-FFF2-40B4-BE49-F238E27FC236}">
                  <a16:creationId xmlns:a16="http://schemas.microsoft.com/office/drawing/2014/main" id="{C82B64EC-C53C-A54F-11A6-195E76EE2DED}"/>
                </a:ext>
              </a:extLst>
            </p:cNvPr>
            <p:cNvGrpSpPr/>
            <p:nvPr userDrawn="1"/>
          </p:nvGrpSpPr>
          <p:grpSpPr>
            <a:xfrm>
              <a:off x="9601200" y="6091200"/>
              <a:ext cx="2592000" cy="540000"/>
              <a:chOff x="9597610" y="6092575"/>
              <a:chExt cx="2592000" cy="540000"/>
            </a:xfrm>
          </p:grpSpPr>
          <p:sp>
            <p:nvSpPr>
              <p:cNvPr id="35" name="Rechteck 9">
                <a:extLst>
                  <a:ext uri="{FF2B5EF4-FFF2-40B4-BE49-F238E27FC236}">
                    <a16:creationId xmlns:a16="http://schemas.microsoft.com/office/drawing/2014/main" id="{52F23D48-C73E-B3F8-3FC3-D34F0EEAB92D}"/>
                  </a:ext>
                </a:extLst>
              </p:cNvPr>
              <p:cNvSpPr/>
              <p:nvPr userDrawn="1"/>
            </p:nvSpPr>
            <p:spPr>
              <a:xfrm>
                <a:off x="9597610" y="6092575"/>
                <a:ext cx="2592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71662"/>
                <a:endParaRPr lang="de-DE" sz="1519">
                  <a:solidFill>
                    <a:srgbClr val="FFFFFF"/>
                  </a:solidFill>
                  <a:latin typeface="Arial" panose="020B0604020202020204"/>
                  <a:cs typeface="Arial"/>
                </a:endParaRPr>
              </a:p>
            </p:txBody>
          </p:sp>
          <p:pic>
            <p:nvPicPr>
              <p:cNvPr id="36" name="Grafik 10">
                <a:extLst>
                  <a:ext uri="{FF2B5EF4-FFF2-40B4-BE49-F238E27FC236}">
                    <a16:creationId xmlns:a16="http://schemas.microsoft.com/office/drawing/2014/main" id="{401BE216-4AD7-C6AB-DA1B-44ABEAA53C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30810" y="6229375"/>
                <a:ext cx="808391" cy="292882"/>
              </a:xfrm>
              <a:prstGeom prst="rect">
                <a:avLst/>
              </a:prstGeom>
            </p:spPr>
          </p:pic>
        </p:grpSp>
        <p:grpSp>
          <p:nvGrpSpPr>
            <p:cNvPr id="32" name="Gruppieren 18">
              <a:extLst>
                <a:ext uri="{FF2B5EF4-FFF2-40B4-BE49-F238E27FC236}">
                  <a16:creationId xmlns:a16="http://schemas.microsoft.com/office/drawing/2014/main" id="{0E16ACF3-0D10-067B-384A-2216AD66207D}"/>
                </a:ext>
              </a:extLst>
            </p:cNvPr>
            <p:cNvGrpSpPr/>
            <p:nvPr/>
          </p:nvGrpSpPr>
          <p:grpSpPr>
            <a:xfrm>
              <a:off x="10675814" y="6158700"/>
              <a:ext cx="990780" cy="405000"/>
              <a:chOff x="12400227" y="6988750"/>
              <a:chExt cx="990780" cy="405000"/>
            </a:xfrm>
          </p:grpSpPr>
          <p:sp>
            <p:nvSpPr>
              <p:cNvPr id="33" name="Rechteck 19">
                <a:extLst>
                  <a:ext uri="{FF2B5EF4-FFF2-40B4-BE49-F238E27FC236}">
                    <a16:creationId xmlns:a16="http://schemas.microsoft.com/office/drawing/2014/main" id="{C518ED9D-8EA2-8407-6FEF-50127AB76D77}"/>
                  </a:ext>
                </a:extLst>
              </p:cNvPr>
              <p:cNvSpPr/>
              <p:nvPr/>
            </p:nvSpPr>
            <p:spPr>
              <a:xfrm>
                <a:off x="12400227" y="6988750"/>
                <a:ext cx="10772" cy="405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71662"/>
                <a:endParaRPr lang="de-DE" sz="1519">
                  <a:solidFill>
                    <a:srgbClr val="FFFFFF"/>
                  </a:solidFill>
                  <a:latin typeface="Arial" panose="020B0604020202020204"/>
                  <a:cs typeface="Arial"/>
                </a:endParaRPr>
              </a:p>
            </p:txBody>
          </p:sp>
          <p:pic>
            <p:nvPicPr>
              <p:cNvPr id="34" name="Grafik 20">
                <a:extLst>
                  <a:ext uri="{FF2B5EF4-FFF2-40B4-BE49-F238E27FC236}">
                    <a16:creationId xmlns:a16="http://schemas.microsoft.com/office/drawing/2014/main" id="{9C8AE32B-5E2C-5B3A-C6D8-6B0B40A866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540613" y="7018303"/>
                <a:ext cx="850394" cy="2482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7255295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7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Visión global, cultivo nacional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2278B0E1-0DE7-0F1D-9931-C0A0FBE973CE}"/>
              </a:ext>
            </a:extLst>
          </p:cNvPr>
          <p:cNvSpPr txBox="1">
            <a:spLocks/>
          </p:cNvSpPr>
          <p:nvPr/>
        </p:nvSpPr>
        <p:spPr>
          <a:xfrm>
            <a:off x="227779" y="6514396"/>
            <a:ext cx="384167" cy="15118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2EA1D04-CA53-4DE3-84A8-2B63E41036C9}" type="slidenum">
              <a:rPr lang="en-US" smtClean="0">
                <a:solidFill>
                  <a:srgbClr val="000000"/>
                </a:solidFill>
                <a:latin typeface="Arial" panose="020B0604020202020204"/>
                <a:cs typeface="Arial"/>
              </a:rPr>
              <a:pPr/>
              <a:t>7</a:t>
            </a:fld>
            <a:endParaRPr lang="en-US" dirty="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D5A4BB6E-9100-FDB5-16F7-916162925B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520449" y="825260"/>
            <a:ext cx="11361295" cy="5556783"/>
          </a:xfr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634F9068-1F3D-85D2-A309-76144F958B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24532" y="853127"/>
            <a:ext cx="1712913" cy="189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23EF6EFC-F6F0-8518-2ECC-71DB8576DA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12926" y="2211009"/>
            <a:ext cx="1696499" cy="1923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ABDB2186-41E4-296D-8230-6C735AE94B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8034" y="4618921"/>
            <a:ext cx="1712913" cy="189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E37255D0-3F69-F514-2041-20DC7253A0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1305" y="2900956"/>
            <a:ext cx="1579786" cy="2013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Title 1">
            <a:extLst>
              <a:ext uri="{FF2B5EF4-FFF2-40B4-BE49-F238E27FC236}">
                <a16:creationId xmlns:a16="http://schemas.microsoft.com/office/drawing/2014/main" id="{223F6A25-D3B0-B429-7209-528E68687C45}"/>
              </a:ext>
            </a:extLst>
          </p:cNvPr>
          <p:cNvSpPr txBox="1">
            <a:spLocks/>
          </p:cNvSpPr>
          <p:nvPr/>
        </p:nvSpPr>
        <p:spPr>
          <a:xfrm>
            <a:off x="392646" y="190346"/>
            <a:ext cx="2287001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2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25" name="Imagen 24" descr="Imagen que contiene exterior, parado, hombre, edificio&#10;&#10;El contenido generado por IA puede ser incorrecto.">
            <a:extLst>
              <a:ext uri="{FF2B5EF4-FFF2-40B4-BE49-F238E27FC236}">
                <a16:creationId xmlns:a16="http://schemas.microsoft.com/office/drawing/2014/main" id="{4EEBDCB9-E1AC-ABEC-C03B-F9FEE396EF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60" y="700519"/>
            <a:ext cx="4415125" cy="58868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6" name="Imagen 25" descr="Una planta con hojas verdes&#10;&#10;El contenido generado por IA puede ser incorrecto.">
            <a:extLst>
              <a:ext uri="{FF2B5EF4-FFF2-40B4-BE49-F238E27FC236}">
                <a16:creationId xmlns:a16="http://schemas.microsoft.com/office/drawing/2014/main" id="{998615F0-B045-8E66-508F-AC3ECFF3D31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5199" y="692399"/>
            <a:ext cx="4421216" cy="58949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076613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8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Green Queen: De </a:t>
            </a: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la semilla al consumidor</a:t>
            </a:r>
          </a:p>
        </p:txBody>
      </p:sp>
      <p:pic>
        <p:nvPicPr>
          <p:cNvPr id="26" name="Imagen 25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3D38DE56-DB1D-E873-5498-8E8DE42B33B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7" r="3852"/>
          <a:stretch/>
        </p:blipFill>
        <p:spPr>
          <a:xfrm>
            <a:off x="4136767" y="1001144"/>
            <a:ext cx="3805961" cy="4965559"/>
          </a:xfrm>
          <a:prstGeom prst="rect">
            <a:avLst/>
          </a:prstGeom>
        </p:spPr>
      </p:pic>
      <p:pic>
        <p:nvPicPr>
          <p:cNvPr id="28" name="Imagen 27" descr="Pantalla de celular con fruta&#10;&#10;Descripción generada automáticamente con confianza media">
            <a:extLst>
              <a:ext uri="{FF2B5EF4-FFF2-40B4-BE49-F238E27FC236}">
                <a16:creationId xmlns:a16="http://schemas.microsoft.com/office/drawing/2014/main" id="{9B74E864-6718-E8A3-173E-42A1870185F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6" r="2771"/>
          <a:stretch/>
        </p:blipFill>
        <p:spPr>
          <a:xfrm>
            <a:off x="7968017" y="1010108"/>
            <a:ext cx="4017735" cy="4305961"/>
          </a:xfrm>
          <a:prstGeom prst="rect">
            <a:avLst/>
          </a:prstGeom>
        </p:spPr>
      </p:pic>
      <p:pic>
        <p:nvPicPr>
          <p:cNvPr id="30" name="Imagen 29" descr="Interfaz de usuario gráfica, Texto, Aplicación&#10;&#10;Descripción generada automáticamente">
            <a:extLst>
              <a:ext uri="{FF2B5EF4-FFF2-40B4-BE49-F238E27FC236}">
                <a16:creationId xmlns:a16="http://schemas.microsoft.com/office/drawing/2014/main" id="{7DF4C13F-4FE6-CFC3-67D4-4F46FF4A6D4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67" r="6174"/>
          <a:stretch/>
        </p:blipFill>
        <p:spPr>
          <a:xfrm>
            <a:off x="125061" y="965284"/>
            <a:ext cx="3992268" cy="41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749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51F31-10E6-6057-3798-9EF652B58D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294E17D-3CA6-DC1F-FB91-47F0385280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294E17D-3CA6-DC1F-FB91-47F038528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0DB808B-52A0-B3B8-73D3-92D1975CE9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pPr/>
              <a:t>9</a:t>
            </a:fld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111D64-EED8-BDB9-E14F-46DDBC9DD3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3586" y="205156"/>
            <a:ext cx="581106" cy="905001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81121CBD-B0C4-1ADD-C8A4-7B003EE4F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130861"/>
            <a:ext cx="11736386" cy="497210"/>
          </a:xfrm>
        </p:spPr>
        <p:txBody>
          <a:bodyPr anchor="t">
            <a:noAutofit/>
          </a:bodyPr>
          <a:lstStyle/>
          <a:p>
            <a:pPr>
              <a:spcAft>
                <a:spcPts val="1400"/>
              </a:spcAft>
              <a:buClr>
                <a:schemeClr val="bg1"/>
              </a:buClr>
            </a:pPr>
            <a:r>
              <a:rPr lang="de-DE" sz="3200" b="0" dirty="0">
                <a:solidFill>
                  <a:schemeClr val="accent1"/>
                </a:solidFill>
                <a:latin typeface="Arial Narrow" panose="020B0606020202030204" pitchFamily="34" charset="0"/>
                <a:ea typeface="Cambria" panose="02040503050406030204" pitchFamily="18" charset="0"/>
                <a:cs typeface="Segoe UI Semibold" panose="020B0702040204020203" pitchFamily="34" charset="0"/>
              </a:rPr>
              <a:t>Si eres agricultor</a:t>
            </a:r>
          </a:p>
        </p:txBody>
      </p:sp>
      <p:pic>
        <p:nvPicPr>
          <p:cNvPr id="30" name="Imagen 29" descr="Interfaz de usuario gráfica, Texto, Aplicación&#10;&#10;Descripción generada automáticamente">
            <a:extLst>
              <a:ext uri="{FF2B5EF4-FFF2-40B4-BE49-F238E27FC236}">
                <a16:creationId xmlns:a16="http://schemas.microsoft.com/office/drawing/2014/main" id="{C9505667-A25B-3404-995B-48433077599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67" r="6174"/>
          <a:stretch/>
        </p:blipFill>
        <p:spPr>
          <a:xfrm>
            <a:off x="494351" y="809716"/>
            <a:ext cx="3378909" cy="348302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7E49671-8873-B5B2-BA8F-770905CFB5C2}"/>
              </a:ext>
            </a:extLst>
          </p:cNvPr>
          <p:cNvSpPr txBox="1">
            <a:spLocks/>
          </p:cNvSpPr>
          <p:nvPr/>
        </p:nvSpPr>
        <p:spPr>
          <a:xfrm>
            <a:off x="419121" y="4655169"/>
            <a:ext cx="4574854" cy="2010829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F39500"/>
              </a:buClr>
              <a:buSzTx/>
              <a:buFont typeface="Wingdings"/>
              <a:buChar char="n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9138" marR="0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39500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4738" marR="0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3513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39500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Suelos cansados</a:t>
            </a:r>
          </a:p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lima cambiante</a:t>
            </a:r>
          </a:p>
          <a:p>
            <a:pPr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s-ES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Seguridad</a:t>
            </a:r>
            <a:endParaRPr lang="nl-NL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2985F026-869B-B3FF-9FCD-4E088924931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26" r="15202"/>
          <a:stretch>
            <a:fillRect/>
          </a:stretch>
        </p:blipFill>
        <p:spPr>
          <a:xfrm>
            <a:off x="4508868" y="932288"/>
            <a:ext cx="2892645" cy="249671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2" name="Picture 8">
            <a:extLst>
              <a:ext uri="{FF2B5EF4-FFF2-40B4-BE49-F238E27FC236}">
                <a16:creationId xmlns:a16="http://schemas.microsoft.com/office/drawing/2014/main" id="{809233C6-0752-13DB-2726-E41001297629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3839" y="1172026"/>
            <a:ext cx="3244874" cy="432862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Imagen 13" descr="Una planta con hojas verdes&#10;&#10;El contenido generado por IA puede ser incorrecto.">
            <a:extLst>
              <a:ext uri="{FF2B5EF4-FFF2-40B4-BE49-F238E27FC236}">
                <a16:creationId xmlns:a16="http://schemas.microsoft.com/office/drawing/2014/main" id="{F54E35E1-B085-0C8D-D242-8D199BB620D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6574" y="3852866"/>
            <a:ext cx="3437235" cy="2573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995628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_TP_TITELFOLIE_VISIBLE" val="0"/>
  <p:tag name="_TP_TITELFOLIE_WIDTH" val="46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oV_BPSQyWkaNybqE0Q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6 BASF 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BASFo_Presentation16-9_or.pptx" id="{FEDCB8E6-4026-4AE2-822C-C9F46CC11533}" vid="{BC5403CF-3E31-4A1C-99FF-5B2FFCF2F97D}"/>
    </a:ext>
  </a:extLst>
</a:theme>
</file>

<file path=ppt/theme/theme2.xml><?xml version="1.0" encoding="utf-8"?>
<a:theme xmlns:a="http://schemas.openxmlformats.org/drawingml/2006/main" name="BASF_FolienDesign_V10">
  <a:themeElements>
    <a:clrScheme name="06 BASF 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BASFo_Presentation16-9_or.pptx" id="{FEDCB8E6-4026-4AE2-822C-C9F46CC11533}" vid="{FF83F795-1CB6-45D5-89AC-D7712C0045F1}"/>
    </a:ext>
  </a:extLst>
</a:theme>
</file>

<file path=ppt/theme/theme3.xml><?xml version="1.0" encoding="utf-8"?>
<a:theme xmlns:a="http://schemas.openxmlformats.org/drawingml/2006/main" name="BASF_FolienDesign_V10 (HIDDEN)">
  <a:themeElements>
    <a:clrScheme name="06 BASF 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BASFo_Presentation16-9_or.pptx" id="{FEDCB8E6-4026-4AE2-822C-C9F46CC11533}" vid="{FF83F795-1CB6-45D5-89AC-D7712C0045F1}"/>
    </a:ext>
  </a:extLst>
</a:theme>
</file>

<file path=ppt/theme/theme4.xml><?xml version="1.0" encoding="utf-8"?>
<a:theme xmlns:a="http://schemas.openxmlformats.org/drawingml/2006/main" name="BASF_Finale_V10">
  <a:themeElements>
    <a:clrScheme name="06 BASF 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Fo_Presentation16-9_or.pptx" id="{FEDCB8E6-4026-4AE2-822C-C9F46CC11533}" vid="{AA1F2636-D575-4A7F-B938-6D19C4C7584C}"/>
    </a:ext>
  </a:extLst>
</a:theme>
</file>

<file path=ppt/theme/theme5.xml><?xml version="1.0" encoding="utf-8"?>
<a:theme xmlns:a="http://schemas.openxmlformats.org/drawingml/2006/main" name="1_BASF_TitelDesign_V10">
  <a:themeElements>
    <a:clrScheme name="06 BASF 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BASFo_Presentation16-9_or.pptx" id="{FEDCB8E6-4026-4AE2-822C-C9F46CC11533}" vid="{BC5403CF-3E31-4A1C-99FF-5B2FFCF2F97D}"/>
    </a:ext>
  </a:extLst>
</a:theme>
</file>

<file path=ppt/theme/theme6.xml><?xml version="1.0" encoding="utf-8"?>
<a:theme xmlns:a="http://schemas.openxmlformats.org/drawingml/2006/main" name="1_BASF_FolienDesign_V10">
  <a:themeElements>
    <a:clrScheme name="06 BASF 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BASFo_Presentation16-9_or.pptx" id="{FEDCB8E6-4026-4AE2-822C-C9F46CC11533}" vid="{FF83F795-1CB6-45D5-89AC-D7712C0045F1}"/>
    </a:ext>
  </a:extLst>
</a:theme>
</file>

<file path=ppt/theme/theme7.xml><?xml version="1.0" encoding="utf-8"?>
<a:theme xmlns:a="http://schemas.openxmlformats.org/drawingml/2006/main" name="2_BASF_FolienDesign_V10">
  <a:themeElements>
    <a:clrScheme name="06 BASF 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762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0" id="{20F59E36-1308-4A8F-855D-6087AB7451F1}" vid="{C68C0843-57BA-489E-97B2-66A6B2C3485A}"/>
    </a:ext>
  </a:extLst>
</a:theme>
</file>

<file path=ppt/theme/theme8.xml><?xml version="1.0" encoding="utf-8"?>
<a:theme xmlns:a="http://schemas.openxmlformats.org/drawingml/2006/main" name="Larissa">
  <a:themeElements>
    <a:clrScheme name="BASF_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Larissa">
  <a:themeElements>
    <a:clrScheme name="BASF_orange_colorsheme">
      <a:dk1>
        <a:srgbClr val="000000"/>
      </a:dk1>
      <a:lt1>
        <a:srgbClr val="FFFFFF"/>
      </a:lt1>
      <a:dk2>
        <a:srgbClr val="EC6B00"/>
      </a:dk2>
      <a:lt2>
        <a:srgbClr val="FFFFFF"/>
      </a:lt2>
      <a:accent1>
        <a:srgbClr val="F39500"/>
      </a:accent1>
      <a:accent2>
        <a:srgbClr val="F4A134"/>
      </a:accent2>
      <a:accent3>
        <a:srgbClr val="F7B64F"/>
      </a:accent3>
      <a:accent4>
        <a:srgbClr val="FACF8C"/>
      </a:accent4>
      <a:accent5>
        <a:srgbClr val="FDF0DB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10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1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8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9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docMetadata/LabelInfo.xml><?xml version="1.0" encoding="utf-8"?>
<clbl:labelList xmlns:clbl="http://schemas.microsoft.com/office/2020/mipLabelMetadata">
  <clbl:label id="{06530cf4-8573-4c29-a912-bbcdac835909}" enabled="1" method="Standard" siteId="{ecaa386b-c8df-4ce0-ad01-740cbdb5ba5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ASFo_Presentation16-9_or</Template>
  <TotalTime>0</TotalTime>
  <Words>738</Words>
  <Application>Microsoft Office PowerPoint</Application>
  <PresentationFormat>Personalizado</PresentationFormat>
  <Paragraphs>184</Paragraphs>
  <Slides>23</Slides>
  <Notes>23</Notes>
  <HiddenSlides>0</HiddenSlides>
  <MMClips>1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3</vt:i4>
      </vt:variant>
    </vt:vector>
  </HeadingPairs>
  <TitlesOfParts>
    <vt:vector size="40" baseType="lpstr">
      <vt:lpstr>Amasis MT Pro Light</vt:lpstr>
      <vt:lpstr>Arial</vt:lpstr>
      <vt:lpstr>Arial Narrow</vt:lpstr>
      <vt:lpstr>Courier New</vt:lpstr>
      <vt:lpstr>Edwardian Script ITC</vt:lpstr>
      <vt:lpstr>Segoe UI Light</vt:lpstr>
      <vt:lpstr>Segoe UI Semibold</vt:lpstr>
      <vt:lpstr>Wingdings</vt:lpstr>
      <vt:lpstr>Wingdings 3</vt:lpstr>
      <vt:lpstr>BASF_TitelDesign_V10</vt:lpstr>
      <vt:lpstr>BASF_FolienDesign_V10</vt:lpstr>
      <vt:lpstr>BASF_FolienDesign_V10 (HIDDEN)</vt:lpstr>
      <vt:lpstr>BASF_Finale_V10</vt:lpstr>
      <vt:lpstr>1_BASF_TitelDesign_V10</vt:lpstr>
      <vt:lpstr>1_BASF_FolienDesign_V10</vt:lpstr>
      <vt:lpstr>2_BASF_FolienDesign_V10</vt:lpstr>
      <vt:lpstr>think-cell Slide</vt:lpstr>
      <vt:lpstr>Presentación de PowerPoint</vt:lpstr>
      <vt:lpstr>Propuesta</vt:lpstr>
      <vt:lpstr>Propuesta</vt:lpstr>
      <vt:lpstr>Nuestro camino hasta ser BASF Nunhems</vt:lpstr>
      <vt:lpstr>Nuestro camino hasta ser BASF Nunhems </vt:lpstr>
      <vt:lpstr>BASF Nunhems</vt:lpstr>
      <vt:lpstr>Visión global, cultivo nacional</vt:lpstr>
      <vt:lpstr>Green Queen: De la semilla al consumidor</vt:lpstr>
      <vt:lpstr>Si eres agricultor</vt:lpstr>
      <vt:lpstr>Si eres comercializador</vt:lpstr>
      <vt:lpstr>Si eres supermercado / especialista</vt:lpstr>
      <vt:lpstr>2021, primera acción</vt:lpstr>
      <vt:lpstr>Y la primavera? 2022</vt:lpstr>
      <vt:lpstr>Conclusiones</vt:lpstr>
      <vt:lpstr>Campaña 2023</vt:lpstr>
      <vt:lpstr>Campaña 2023</vt:lpstr>
      <vt:lpstr>Conclusiones</vt:lpstr>
      <vt:lpstr>Por supuesto  Comunicación a canal especialista</vt:lpstr>
      <vt:lpstr>Comunicación a especialistas  Encuesta </vt:lpstr>
      <vt:lpstr>Comunicación a especialistas  2024</vt:lpstr>
      <vt:lpstr>Comunicación a especialistas  2025</vt:lpstr>
      <vt:lpstr>Presentación de PowerPoint</vt:lpstr>
      <vt:lpstr>Presentación de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pe Area Title Slide</dc:title>
  <dc:creator>Markus Jaeger</dc:creator>
  <cp:lastModifiedBy>roberto.ballesterdelgado@basf.com</cp:lastModifiedBy>
  <cp:revision>145</cp:revision>
  <cp:lastPrinted>2017-06-09T08:22:17Z</cp:lastPrinted>
  <dcterms:created xsi:type="dcterms:W3CDTF">2019-02-26T08:44:08Z</dcterms:created>
  <dcterms:modified xsi:type="dcterms:W3CDTF">2026-02-27T09:2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MSIP_Label_06530cf4-8573-4c29-a912-bbcdac835909_Enabled">
    <vt:lpwstr>true</vt:lpwstr>
  </property>
  <property fmtid="{D5CDD505-2E9C-101B-9397-08002B2CF9AE}" pid="4" name="MSIP_Label_06530cf4-8573-4c29-a912-bbcdac835909_SetDate">
    <vt:lpwstr>2024-02-16T10:09:29Z</vt:lpwstr>
  </property>
  <property fmtid="{D5CDD505-2E9C-101B-9397-08002B2CF9AE}" pid="5" name="MSIP_Label_06530cf4-8573-4c29-a912-bbcdac835909_Method">
    <vt:lpwstr>Standard</vt:lpwstr>
  </property>
  <property fmtid="{D5CDD505-2E9C-101B-9397-08002B2CF9AE}" pid="6" name="MSIP_Label_06530cf4-8573-4c29-a912-bbcdac835909_Name">
    <vt:lpwstr>06530cf4-8573-4c29-a912-bbcdac835909</vt:lpwstr>
  </property>
  <property fmtid="{D5CDD505-2E9C-101B-9397-08002B2CF9AE}" pid="7" name="MSIP_Label_06530cf4-8573-4c29-a912-bbcdac835909_SiteId">
    <vt:lpwstr>ecaa386b-c8df-4ce0-ad01-740cbdb5ba55</vt:lpwstr>
  </property>
  <property fmtid="{D5CDD505-2E9C-101B-9397-08002B2CF9AE}" pid="8" name="MSIP_Label_06530cf4-8573-4c29-a912-bbcdac835909_ActionId">
    <vt:lpwstr>a5b487bd-1f45-4f08-aafb-463a5e0b345d</vt:lpwstr>
  </property>
  <property fmtid="{D5CDD505-2E9C-101B-9397-08002B2CF9AE}" pid="9" name="MSIP_Label_06530cf4-8573-4c29-a912-bbcdac835909_ContentBits">
    <vt:lpwstr>2</vt:lpwstr>
  </property>
</Properties>
</file>